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1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E040E444-3B9D-4334-9EDD-BE01E1D76F5B}">
          <p14:sldIdLst>
            <p14:sldId id="2147477365"/>
            <p14:sldId id="2147477366"/>
            <p14:sldId id="2147477367"/>
            <p14:sldId id="2147477368"/>
            <p14:sldId id="2147477369"/>
          </p14:sldIdLst>
        </p14:section>
        <p14:section name="Category Price Point Distribution Analysis P12M" id="{7DED092B-4F86-4068-80A9-9CBFD0866E89}">
          <p14:sldIdLst>
            <p14:sldId id="2147477370"/>
            <p14:sldId id="2147477371"/>
            <p14:sldId id="2147477372"/>
            <p14:sldId id="2147477373"/>
            <p14:sldId id="2147477374"/>
          </p14:sldIdLst>
        </p14:section>
        <p14:section name="Sector Price Point Distribution Analysis P3M" id="{D0B3EC16-F98C-446F-B7E7-3D69639B62A6}">
          <p14:sldIdLst>
            <p14:sldId id="2147477375"/>
            <p14:sldId id="2147477376"/>
            <p14:sldId id="2147477377"/>
            <p14:sldId id="2147477378"/>
            <p14:sldId id="2147477379"/>
            <p14:sldId id="2147477380"/>
            <p14:sldId id="2147477381"/>
          </p14:sldIdLst>
        </p14:section>
        <p14:section name="Sector Price Point Distribution Analysis P12M" id="{DE6B2D45-57CD-4F23-A985-61C06578C080}">
          <p14:sldIdLst>
            <p14:sldId id="2147477382"/>
            <p14:sldId id="2147477383"/>
            <p14:sldId id="2147477384"/>
            <p14:sldId id="2147477385"/>
            <p14:sldId id="2147477386"/>
            <p14:sldId id="2147477387"/>
            <p14:sldId id="2147477388"/>
          </p14:sldIdLst>
        </p14:section>
        <p14:section name="Price Point Distribution Analysis P3M ByManuf" id="{6D4203C3-8EAF-4563-AEDB-8FDDEDBAE5B7}">
          <p14:sldIdLst>
            <p14:sldId id="2147477389"/>
            <p14:sldId id="2147477390"/>
            <p14:sldId id="2147477391"/>
          </p14:sldIdLst>
        </p14:section>
        <p14:section name="Price Point Distribution Analysis P12M ByManuf" id="{48CA13CC-E4E9-491D-A159-2ADEE1CED724}">
          <p14:sldIdLst>
            <p14:sldId id="2147477392"/>
            <p14:sldId id="2147477393"/>
            <p14:sldId id="2147477394"/>
          </p14:sldIdLst>
        </p14:section>
        <p14:section name="Price Point Distribution Analysis P3M ByManuf" id="{84EE4208-5A8C-463A-B6FE-013E8032B5AC}">
          <p14:sldIdLst>
            <p14:sldId id="2147477395"/>
            <p14:sldId id="2147477396"/>
            <p14:sldId id="2147477397"/>
            <p14:sldId id="2147477398"/>
            <p14:sldId id="2147477399"/>
          </p14:sldIdLst>
        </p14:section>
        <p14:section name="Price Point Distribution Analysis P12M ByManuf" id="{644770F1-042C-4700-A853-D73B40CD23F9}">
          <p14:sldIdLst>
            <p14:sldId id="2147477400"/>
            <p14:sldId id="2147477401"/>
            <p14:sldId id="2147477402"/>
            <p14:sldId id="2147477403"/>
            <p14:sldId id="2147477404"/>
          </p14:sldIdLst>
        </p14:section>
        <p14:section name="Price Point Comparison Analysis by Manuf" id="{191B3B41-F11B-4E59-9D39-666B7020F79C}">
          <p14:sldIdLst>
            <p14:sldId id="2147477405"/>
            <p14:sldId id="2147477406"/>
            <p14:sldId id="2147477407"/>
            <p14:sldId id="2147477408"/>
            <p14:sldId id="2147477409"/>
            <p14:sldId id="2147477410"/>
            <p14:sldId id="2147477411"/>
            <p14:sldId id="2147477412"/>
            <p14:sldId id="2147477413"/>
            <p14:sldId id="2147477414"/>
            <p14:sldId id="2147477415"/>
            <p14:sldId id="2147477416"/>
          </p14:sldIdLst>
        </p14:section>
        <p14:section name="Price Point Comparison Analysis by Product" id="{C2A3C45B-7F2F-4CC7-A454-BF7C7A2F601E}">
          <p14:sldIdLst>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Lst>
        </p14:section>
        <p14:section name="Price Point Distribution Analysis By Brand" id="{B7BB2223-15A3-48E5-8347-A9BE2AE337A5}">
          <p14:sldIdLst>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Lst>
        </p14:section>
        <p14:section name="Price Point Distribution By Brand By Sector" id="{47C8419C-C72B-420B-BD71-AA1DB3CA4358}">
          <p14:sldIdLst>
            <p14:sldId id="2147477462"/>
            <p14:sldId id="2147477463"/>
            <p14:sldId id="2147477464"/>
          </p14:sldIdLst>
        </p14:section>
        <p14:section name="Price Point Distribution By Brand By Segment" id="{54C67B05-AFF0-49CD-9D34-85905BC32905}">
          <p14:sldIdLst>
            <p14:sldId id="2147477465"/>
            <p14:sldId id="2147477466"/>
            <p14:sldId id="2147477467"/>
            <p14:sldId id="2147477468"/>
            <p14:sldId id="2147477469"/>
            <p14:sldId id="214747747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notesMaster" Target="notesMasters/notesMaster1.xml"/><Relationship Id="rId112" Type="http://schemas.openxmlformats.org/officeDocument/2006/relationships/presProps" Target="presProps.xml"/><Relationship Id="rId113" Type="http://schemas.openxmlformats.org/officeDocument/2006/relationships/viewProps" Target="viewProps.xml"/><Relationship Id="rId114" Type="http://schemas.openxmlformats.org/officeDocument/2006/relationships/theme" Target="theme/theme1.xml"/><Relationship Id="rId115" Type="http://schemas.openxmlformats.org/officeDocument/2006/relationships/tableStyles" Target="tableStyles.xml"/><Relationship Id="rId116"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2</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8</a:t>
                    </a:r>
                  </a:p>
                </c:rich>
              </c:tx>
              <c:dLblPos val="t"/>
              <c:showLegendKey val="0"/>
              <c:showVal val="1"/>
              <c:showCatName val="0"/>
              <c:showSerName val="0"/>
              <c:showPercent val="0"/>
              <c:showBubbleSize val="0"/>
            </c:dLbl>
            <c:dLbl>
              <c:idx val="9"/>
              <c:tx>
                <c:rich>
                  <a:bodyPr/>
                  <a:lstStyle/>
                  <a:p>
                    <a:r>
                      <a:t>15.11</a:t>
                    </a:r>
                  </a:p>
                </c:rich>
              </c:tx>
              <c:dLblPos val="t"/>
              <c:showLegendKey val="0"/>
              <c:showVal val="1"/>
              <c:showCatName val="0"/>
              <c:showSerName val="0"/>
              <c:showPercent val="0"/>
              <c:showBubbleSize val="0"/>
            </c:dLbl>
            <c:dLbl>
              <c:idx val="10"/>
              <c:tx>
                <c:rich>
                  <a:bodyPr/>
                  <a:lstStyle/>
                  <a:p>
                    <a:r>
                      <a:t>15.22</a:t>
                    </a:r>
                  </a:p>
                </c:rich>
              </c:tx>
              <c:dLblPos val="t"/>
              <c:showLegendKey val="0"/>
              <c:showVal val="1"/>
              <c:showCatName val="0"/>
              <c:showSerName val="0"/>
              <c:showPercent val="0"/>
              <c:showBubbleSize val="0"/>
            </c:dLbl>
            <c:dLbl>
              <c:idx val="11"/>
              <c:tx>
                <c:rich>
                  <a:bodyPr/>
                  <a:lstStyle/>
                  <a:p>
                    <a:r>
                      <a:t>10.59</a:t>
                    </a:r>
                  </a:p>
                </c:rich>
              </c:tx>
              <c:dLblPos val="t"/>
              <c:showLegendKey val="0"/>
              <c:showVal val="1"/>
              <c:showCatName val="0"/>
              <c:showSerName val="0"/>
              <c:showPercent val="0"/>
              <c:showBubbleSize val="0"/>
            </c:dLbl>
            <c:dLbl>
              <c:idx val="12"/>
              <c:tx>
                <c:rich>
                  <a:bodyPr/>
                  <a:lstStyle/>
                  <a:p>
                    <a:r>
                      <a:t>26.91</a:t>
                    </a:r>
                  </a:p>
                </c:rich>
              </c:tx>
              <c:dLblPos val="t"/>
              <c:showLegendKey val="0"/>
              <c:showVal val="1"/>
              <c:showCatName val="0"/>
              <c:showSerName val="0"/>
              <c:showPercent val="0"/>
              <c:showBubbleSize val="0"/>
            </c:dLbl>
            <c:dLbl>
              <c:idx val="13"/>
              <c:tx>
                <c:rich>
                  <a:bodyPr/>
                  <a:lstStyle/>
                  <a:p>
                    <a:r>
                      <a:t>16.88</a:t>
                    </a:r>
                  </a:p>
                </c:rich>
              </c:tx>
              <c:dLblPos val="t"/>
              <c:showLegendKey val="0"/>
              <c:showVal val="1"/>
              <c:showCatName val="0"/>
              <c:showSerName val="0"/>
              <c:showPercent val="0"/>
              <c:showBubbleSize val="0"/>
            </c:dLbl>
            <c:dLbl>
              <c:idx val="14"/>
              <c:tx>
                <c:rich>
                  <a:bodyPr/>
                  <a:lstStyle/>
                  <a:p>
                    <a:r>
                      <a:t>13.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HYDRO 5 SENSITIVE 5 BLADE REFILL SENSITIVE 6CT</c:v>
                </c:pt>
                <c:pt idx="11">
                  <c:v>HYDRO 5 SENSITIVE 5 BLADE RAZOR SENSITIVE 3CT</c:v>
                </c:pt>
                <c:pt idx="12">
                  <c:v>HYDRO 5 SENSITIVE 5 BLADE REFILL SENSITIVE 12CT</c:v>
                </c:pt>
                <c:pt idx="13">
                  <c:v>HYDRO 5 DRY SKIN 5 BLADE REFILL DRY 6CT</c:v>
                </c:pt>
                <c:pt idx="14">
                  <c:v>SCHICK QUATTRO FOR MEN 4 BLADE REFILL NORMAL 8CT</c:v>
                </c:pt>
              </c:strCache>
            </c:strRef>
          </c:cat>
          <c:val>
            <c:numRef>
              <c:f>Sheet1!$B$2:$B$16</c:f>
              <c:numCache>
                <c:formatCode>General</c:formatCode>
                <c:ptCount val="15"/>
                <c:pt idx="0">
                  <c:v>20.09</c:v>
                </c:pt>
                <c:pt idx="1">
                  <c:v>7.29</c:v>
                </c:pt>
                <c:pt idx="2">
                  <c:v>7.27</c:v>
                </c:pt>
                <c:pt idx="3">
                  <c:v>11.92</c:v>
                </c:pt>
                <c:pt idx="4">
                  <c:v>9.2</c:v>
                </c:pt>
                <c:pt idx="5">
                  <c:v>16.66</c:v>
                </c:pt>
                <c:pt idx="6">
                  <c:v>16.0</c:v>
                </c:pt>
                <c:pt idx="7">
                  <c:v>11.19</c:v>
                </c:pt>
                <c:pt idx="8">
                  <c:v>15.18</c:v>
                </c:pt>
                <c:pt idx="9">
                  <c:v>15.11</c:v>
                </c:pt>
                <c:pt idx="10">
                  <c:v>15.22</c:v>
                </c:pt>
                <c:pt idx="11">
                  <c:v>10.59</c:v>
                </c:pt>
                <c:pt idx="12">
                  <c:v>26.91</c:v>
                </c:pt>
                <c:pt idx="13">
                  <c:v>16.88</c:v>
                </c:pt>
                <c:pt idx="14">
                  <c:v>13.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3.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3.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C$2:$C$8</c:f>
              <c:numCache>
                <c:formatCode>General</c:formatCode>
                <c:ptCount val="7"/>
                <c:pt idx="1">
                  <c:v>10.2883</c:v>
                </c:pt>
                <c:pt idx="3">
                  <c:v>3.0</c:v>
                </c:pt>
                <c:pt idx="4">
                  <c:v>4.437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D$2:$D$8</c:f>
              <c:numCache>
                <c:formatCode>General</c:formatCode>
                <c:ptCount val="7"/>
                <c:pt idx="2">
                  <c:v>2.1773</c:v>
                </c:pt>
                <c:pt idx="3">
                  <c:v>19.48</c:v>
                </c:pt>
                <c:pt idx="4">
                  <c:v>8.4824</c:v>
                </c:pt>
                <c:pt idx="5">
                  <c:v>26.19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E$2:$E$8</c:f>
              <c:numCache>
                <c:formatCode>General</c:formatCode>
                <c:ptCount val="7"/>
                <c:pt idx="1">
                  <c:v>15.0128</c:v>
                </c:pt>
                <c:pt idx="3">
                  <c:v>18.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F$2:$F$8</c:f>
              <c:numCache>
                <c:formatCode>General</c:formatCode>
                <c:ptCount val="7"/>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7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G$2:$G$8</c:f>
              <c:numCache>
                <c:formatCode>General</c:formatCode>
                <c:ptCount val="7"/>
                <c:pt idx="5">
                  <c:v>15.0</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H$2:$H$8</c:f>
              <c:numCache>
                <c:formatCode>General</c:formatCode>
                <c:ptCount val="7"/>
                <c:pt idx="1">
                  <c:v>14.992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I$2:$I$8</c:f>
              <c:numCache>
                <c:formatCode>General</c:formatCode>
                <c:ptCount val="7"/>
                <c:pt idx="3">
                  <c:v>3.5</c:v>
                </c:pt>
                <c:pt idx="4">
                  <c:v>0.794</c:v>
                </c:pt>
                <c:pt idx="5">
                  <c:v>14.0</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J$2:$J$8</c:f>
              <c:numCache>
                <c:formatCode>General</c:formatCode>
                <c:ptCount val="7"/>
                <c:pt idx="4">
                  <c:v>25.0</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1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K$2:$K$8</c:f>
              <c:numCache>
                <c:formatCode>General</c:formatCode>
                <c:ptCount val="7"/>
                <c:pt idx="1">
                  <c:v>20.064</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L$2:$L$8</c:f>
              <c:numCache>
                <c:formatCode>General</c:formatCode>
                <c:ptCount val="7"/>
                <c:pt idx="1">
                  <c:v>19.9609</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M$2:$M$8</c:f>
              <c:numCache>
                <c:formatCode>General</c:formatCode>
                <c:ptCount val="7"/>
                <c:pt idx="1">
                  <c:v>9.9791</c:v>
                </c:pt>
                <c:pt idx="2">
                  <c:v>1.937</c:v>
                </c:pt>
                <c:pt idx="3">
                  <c:v>8.4401</c:v>
                </c:pt>
                <c:pt idx="4">
                  <c:v>2.5</c:v>
                </c:pt>
                <c:pt idx="5">
                  <c:v>4.3177</c:v>
                </c:pt>
                <c:pt idx="6">
                  <c:v>14.8057</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N$2:$N$8</c:f>
              <c:numCache>
                <c:formatCode>General</c:formatCode>
                <c:ptCount val="7"/>
                <c:pt idx="1">
                  <c:v>6.9635</c:v>
                </c:pt>
                <c:pt idx="2">
                  <c:v>5.0484</c:v>
                </c:pt>
                <c:pt idx="4">
                  <c:v>3.8235</c:v>
                </c:pt>
                <c:pt idx="5">
                  <c:v>9.5902</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4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O$2:$O$8</c:f>
              <c:numCache>
                <c:formatCode>General</c:formatCode>
                <c:ptCount val="7"/>
                <c:pt idx="2">
                  <c:v>3.972</c:v>
                </c:pt>
                <c:pt idx="3">
                  <c:v>8.9444</c:v>
                </c:pt>
                <c:pt idx="4">
                  <c:v>6.4918</c:v>
                </c:pt>
                <c:pt idx="5">
                  <c:v>9.1995</c:v>
                </c:pt>
                <c:pt idx="6">
                  <c:v>13.5345</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P$2:$P$8</c:f>
              <c:numCache>
                <c:formatCode>General</c:formatCode>
                <c:ptCount val="7"/>
                <c:pt idx="0">
                  <c:v>23.4403</c:v>
                </c:pt>
                <c:pt idx="2">
                  <c:v>1.0034</c:v>
                </c:pt>
                <c:pt idx="3">
                  <c:v>5.4</c:v>
                </c:pt>
                <c:pt idx="5">
                  <c:v>8.3451</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Q$2:$Q$8</c:f>
              <c:numCache>
                <c:formatCode>General</c:formatCode>
                <c:ptCount val="7"/>
                <c:pt idx="0">
                  <c:v>22.3567</c:v>
                </c:pt>
                <c:pt idx="4">
                  <c:v>5.6071</c:v>
                </c:pt>
                <c:pt idx="5">
                  <c:v>14.5899</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R$2:$R$8</c:f>
              <c:numCache>
                <c:formatCode>General</c:formatCode>
                <c:ptCount val="7"/>
                <c:pt idx="0">
                  <c:v>28.5356</c:v>
                </c:pt>
                <c:pt idx="5">
                  <c:v>4.0</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S$2:$S$8</c:f>
              <c:numCache>
                <c:formatCode>General</c:formatCode>
                <c:ptCount val="7"/>
                <c:pt idx="2">
                  <c:v>5.9797</c:v>
                </c:pt>
                <c:pt idx="3">
                  <c:v>15.2946</c:v>
                </c:pt>
                <c:pt idx="4">
                  <c:v>10.5602</c:v>
                </c:pt>
                <c:pt idx="5">
                  <c:v>5.3163</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T$2:$T$8</c:f>
              <c:numCache>
                <c:formatCode>General</c:formatCode>
                <c:ptCount val="7"/>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C$2:$C$9</c:f>
              <c:numCache>
                <c:formatCode>General</c:formatCode>
                <c:ptCount val="8"/>
                <c:pt idx="0">
                  <c:v>26.9189</c:v>
                </c:pt>
                <c:pt idx="4">
                  <c:v>3.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D$2:$D$9</c:f>
              <c:numCache>
                <c:formatCode>General</c:formatCode>
                <c:ptCount val="8"/>
                <c:pt idx="2">
                  <c:v>25.8588</c:v>
                </c:pt>
                <c:pt idx="3">
                  <c:v>39.0</c:v>
                </c:pt>
                <c:pt idx="4">
                  <c:v>19.478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E$2:$E$9</c:f>
              <c:numCache>
                <c:formatCode>General</c:formatCode>
                <c:ptCount val="8"/>
                <c:pt idx="1">
                  <c:v>44.350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F$2:$F$9</c:f>
              <c:numCache>
                <c:formatCode>General</c:formatCode>
                <c:ptCount val="8"/>
                <c:pt idx="0">
                  <c:v>35.7868</c:v>
                </c:pt>
                <c:pt idx="4">
                  <c:v>18.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G$2:$G$9</c:f>
              <c:numCache>
                <c:formatCode>General</c:formatCode>
                <c:ptCount val="8"/>
                <c:pt idx="3">
                  <c:v>27.5854</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H$2:$H$9</c:f>
              <c:numCache>
                <c:formatCode>General</c:formatCode>
                <c:ptCount val="8"/>
                <c:pt idx="3">
                  <c:v>36.947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I$2:$I$9</c:f>
              <c:numCache>
                <c:formatCode>General</c:formatCode>
                <c:ptCount val="8"/>
                <c:pt idx="3">
                  <c:v>5.4337</c:v>
                </c:pt>
                <c:pt idx="5">
                  <c:v>4.0</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J$2:$J$9</c:f>
              <c:numCache>
                <c:formatCode>General</c:formatCode>
                <c:ptCount val="8"/>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K$2:$K$9</c:f>
              <c:numCache>
                <c:formatCode>General</c:formatCode>
                <c:ptCount val="8"/>
                <c:pt idx="2">
                  <c:v>4.8825</c:v>
                </c:pt>
                <c:pt idx="3">
                  <c:v>9.1042</c:v>
                </c:pt>
                <c:pt idx="5">
                  <c:v>8.4393</c:v>
                </c:pt>
                <c:pt idx="7">
                  <c:v>14.3525</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L$2:$L$9</c:f>
              <c:numCache>
                <c:formatCode>General</c:formatCode>
                <c:ptCount val="8"/>
                <c:pt idx="3">
                  <c:v>10.1758</c:v>
                </c:pt>
                <c:pt idx="7">
                  <c:v>9.687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4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M$2:$M$9</c:f>
              <c:numCache>
                <c:formatCode>General</c:formatCode>
                <c:ptCount val="8"/>
                <c:pt idx="2">
                  <c:v>11.7565</c:v>
                </c:pt>
                <c:pt idx="3">
                  <c:v>11.3406</c:v>
                </c:pt>
                <c:pt idx="4">
                  <c:v>8.9443</c:v>
                </c:pt>
                <c:pt idx="6">
                  <c:v>12.7214</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N$2:$N$9</c:f>
              <c:numCache>
                <c:formatCode>General</c:formatCode>
                <c:ptCount val="8"/>
                <c:pt idx="2">
                  <c:v>11.7188</c:v>
                </c:pt>
                <c:pt idx="3">
                  <c:v>17.9653</c:v>
                </c:pt>
                <c:pt idx="4">
                  <c:v>5.4</c:v>
                </c:pt>
                <c:pt idx="7">
                  <c:v>9.5861</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6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O$2:$O$9</c:f>
              <c:numCache>
                <c:formatCode>General</c:formatCode>
                <c:ptCount val="8"/>
                <c:pt idx="2">
                  <c:v>15.194</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P$2:$P$9</c:f>
              <c:numCache>
                <c:formatCode>General</c:formatCode>
                <c:ptCount val="8"/>
                <c:pt idx="2">
                  <c:v>5.4197</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Q$2:$Q$9</c:f>
              <c:numCache>
                <c:formatCode>General</c:formatCode>
                <c:ptCount val="8"/>
                <c:pt idx="2">
                  <c:v>13.0096</c:v>
                </c:pt>
                <c:pt idx="4">
                  <c:v>15.2905</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R$2:$R$9</c:f>
              <c:numCache>
                <c:formatCode>General</c:formatCode>
                <c:ptCount val="8"/>
                <c:pt idx="1">
                  <c:v>28.914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C$2:$C$9</c:f>
              <c:numCache>
                <c:formatCode>General</c:formatCode>
                <c:ptCount val="8"/>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D$2:$D$9</c:f>
              <c:numCache>
                <c:formatCode>General</c:formatCode>
                <c:ptCount val="8"/>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E$2:$E$9</c:f>
              <c:numCache>
                <c:formatCode>General</c:formatCode>
                <c:ptCount val="8"/>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3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F$2:$F$9</c:f>
              <c:numCache>
                <c:formatCode>General</c:formatCode>
                <c:ptCount val="8"/>
                <c:pt idx="1">
                  <c:v>44.32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G$2:$G$9</c:f>
              <c:numCache>
                <c:formatCode>General</c:formatCode>
                <c:ptCount val="8"/>
                <c:pt idx="0">
                  <c:v>39.5038</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H$2:$H$9</c:f>
              <c:numCache>
                <c:formatCode>General</c:formatCode>
                <c:ptCount val="8"/>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I$2:$I$9</c:f>
              <c:numCache>
                <c:formatCode>General</c:formatCode>
                <c:ptCount val="8"/>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J$2:$J$9</c:f>
              <c:numCache>
                <c:formatCode>General</c:formatCode>
                <c:ptCount val="8"/>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K$2:$K$9</c:f>
              <c:numCache>
                <c:formatCode>General</c:formatCode>
                <c:ptCount val="8"/>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L$2:$L$9</c:f>
              <c:numCache>
                <c:formatCode>General</c:formatCode>
                <c:ptCount val="8"/>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M$2:$M$9</c:f>
              <c:numCache>
                <c:formatCode>General</c:formatCode>
                <c:ptCount val="8"/>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N$2:$N$9</c:f>
              <c:numCache>
                <c:formatCode>General</c:formatCode>
                <c:ptCount val="8"/>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5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O$2:$O$9</c:f>
              <c:numCache>
                <c:formatCode>General</c:formatCode>
                <c:ptCount val="8"/>
                <c:pt idx="4">
                  <c:v>9.6452</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P$2:$P$9</c:f>
              <c:numCache>
                <c:formatCode>General</c:formatCode>
                <c:ptCount val="8"/>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Q$2:$Q$9</c:f>
              <c:numCache>
                <c:formatCode>General</c:formatCode>
                <c:ptCount val="8"/>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R$2:$R$9</c:f>
              <c:numCache>
                <c:formatCode>General</c:formatCode>
                <c:ptCount val="8"/>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S$2:$S$9</c:f>
              <c:numCache>
                <c:formatCode>General</c:formatCode>
                <c:ptCount val="8"/>
                <c:pt idx="1">
                  <c:v>28.6354</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C$2:$C$9</c:f>
              <c:numCache>
                <c:formatCode>General</c:formatCode>
                <c:ptCount val="8"/>
                <c:pt idx="2">
                  <c:v>3.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D$2:$D$9</c:f>
              <c:numCache>
                <c:formatCode>General</c:formatCode>
                <c:ptCount val="8"/>
                <c:pt idx="2">
                  <c:v>19.48</c:v>
                </c:pt>
                <c:pt idx="4">
                  <c:v>26.19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E$2:$E$9</c:f>
              <c:numCache>
                <c:formatCode>General</c:formatCode>
                <c:ptCount val="8"/>
                <c:pt idx="2">
                  <c:v>18.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F$2:$F$9</c:f>
              <c:numCache>
                <c:formatCode>General</c:formatCode>
                <c:ptCount val="8"/>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7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G$2:$G$9</c:f>
              <c:numCache>
                <c:formatCode>General</c:formatCode>
                <c:ptCount val="8"/>
                <c:pt idx="5">
                  <c:v>15.0</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H$2:$H$9</c:f>
              <c:numCache>
                <c:formatCode>General</c:formatCode>
                <c:ptCount val="8"/>
                <c:pt idx="3">
                  <c:v>3.5</c:v>
                </c:pt>
                <c:pt idx="5">
                  <c:v>14.0</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I$2:$I$9</c:f>
              <c:numCache>
                <c:formatCode>General</c:formatCode>
                <c:ptCount val="8"/>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J$2:$J$9</c:f>
              <c:numCache>
                <c:formatCode>General</c:formatCode>
                <c:ptCount val="8"/>
                <c:pt idx="3">
                  <c:v>8.4401</c:v>
                </c:pt>
                <c:pt idx="5">
                  <c:v>4.3177</c:v>
                </c:pt>
                <c:pt idx="6">
                  <c:v>14.8057</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K$2:$K$9</c:f>
              <c:numCache>
                <c:formatCode>General</c:formatCode>
                <c:ptCount val="8"/>
                <c:pt idx="1">
                  <c:v>12.6612</c:v>
                </c:pt>
                <c:pt idx="5">
                  <c:v>9.591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L$2:$L$9</c:f>
              <c:numCache>
                <c:formatCode>General</c:formatCode>
                <c:ptCount val="8"/>
                <c:pt idx="2">
                  <c:v>8.9444</c:v>
                </c:pt>
                <c:pt idx="4">
                  <c:v>5.6729</c:v>
                </c:pt>
                <c:pt idx="5">
                  <c:v>9.5308</c:v>
                </c:pt>
                <c:pt idx="7">
                  <c:v>13.534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5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M$2:$M$9</c:f>
              <c:numCache>
                <c:formatCode>General</c:formatCode>
                <c:ptCount val="8"/>
                <c:pt idx="2">
                  <c:v>5.4</c:v>
                </c:pt>
                <c:pt idx="4">
                  <c:v>8.3459</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N$2:$N$9</c:f>
              <c:numCache>
                <c:formatCode>General</c:formatCode>
                <c:ptCount val="8"/>
                <c:pt idx="0">
                  <c:v>34.2743</c:v>
                </c:pt>
                <c:pt idx="4">
                  <c:v>14.5899</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7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O$2:$O$9</c:f>
              <c:numCache>
                <c:formatCode>General</c:formatCode>
                <c:ptCount val="8"/>
                <c:pt idx="1">
                  <c:v>28.5356</c:v>
                </c:pt>
                <c:pt idx="4">
                  <c:v>4.0</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P$2:$P$9</c:f>
              <c:numCache>
                <c:formatCode>General</c:formatCode>
                <c:ptCount val="8"/>
                <c:pt idx="2">
                  <c:v>15.2946</c:v>
                </c:pt>
                <c:pt idx="4">
                  <c:v>5.3163</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C$2:$C$4</c:f>
              <c:numCache>
                <c:formatCode>General</c:formatCode>
                <c:ptCount val="3"/>
                <c:pt idx="1">
                  <c:v>12.545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D$2:$D$4</c:f>
              <c:numCache>
                <c:formatCode>General</c:formatCode>
                <c:ptCount val="3"/>
                <c:pt idx="1">
                  <c:v>8.4028</c:v>
                </c:pt>
                <c:pt idx="2">
                  <c:v>2.177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6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E$2:$E$4</c:f>
              <c:numCache>
                <c:formatCode>General</c:formatCode>
                <c:ptCount val="3"/>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F$2:$F$4</c:f>
              <c:numCache>
                <c:formatCode>General</c:formatCode>
                <c:ptCount val="3"/>
                <c:pt idx="0">
                  <c:v>14.895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G$2:$G$4</c:f>
              <c:numCache>
                <c:formatCode>General</c:formatCode>
                <c:ptCount val="3"/>
                <c:pt idx="1">
                  <c:v>2.5752</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H$2:$H$4</c:f>
              <c:numCache>
                <c:formatCode>General</c:formatCode>
                <c:ptCount val="3"/>
                <c:pt idx="1">
                  <c:v>18.1866</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I$2:$I$4</c:f>
              <c:numCache>
                <c:formatCode>General</c:formatCode>
                <c:ptCount val="3"/>
                <c:pt idx="0">
                  <c:v>20.5309</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4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J$2:$J$4</c:f>
              <c:numCache>
                <c:formatCode>General</c:formatCode>
                <c:ptCount val="3"/>
                <c:pt idx="0">
                  <c:v>22.288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5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K$2:$K$4</c:f>
              <c:numCache>
                <c:formatCode>General</c:formatCode>
                <c:ptCount val="3"/>
                <c:pt idx="0">
                  <c:v>20.5813</c:v>
                </c:pt>
                <c:pt idx="1">
                  <c:v>21.7178</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L$2:$L$4</c:f>
              <c:numCache>
                <c:formatCode>General</c:formatCode>
                <c:ptCount val="3"/>
                <c:pt idx="1">
                  <c:v>2.9434</c:v>
                </c:pt>
                <c:pt idx="2">
                  <c:v>2.1102</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M$2:$M$4</c:f>
              <c:numCache>
                <c:formatCode>General</c:formatCode>
                <c:ptCount val="3"/>
                <c:pt idx="1">
                  <c:v>9.1257</c:v>
                </c:pt>
                <c:pt idx="2">
                  <c:v>5.049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N$2:$N$4</c:f>
              <c:numCache>
                <c:formatCode>General</c:formatCode>
                <c:ptCount val="3"/>
                <c:pt idx="1">
                  <c:v>7.0706</c:v>
                </c:pt>
                <c:pt idx="2">
                  <c:v>3.97</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5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O$2:$O$4</c:f>
              <c:numCache>
                <c:formatCode>General</c:formatCode>
                <c:ptCount val="3"/>
                <c:pt idx="2">
                  <c:v>1.0016</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P$2:$P$4</c:f>
              <c:numCache>
                <c:formatCode>General</c:formatCode>
                <c:ptCount val="3"/>
                <c:pt idx="1">
                  <c:v>6.4316</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Q$2:$Q$4</c:f>
              <c:numCache>
                <c:formatCode>General</c:formatCode>
                <c:ptCount val="3"/>
                <c:pt idx="1">
                  <c:v>11.3234</c:v>
                </c:pt>
                <c:pt idx="2">
                  <c:v>5.9797</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R$2:$R$4</c:f>
              <c:numCache>
                <c:formatCode>General</c:formatCode>
                <c:ptCount val="3"/>
                <c:pt idx="1">
                  <c:v>21.2495</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C$2:$C$4</c:f>
              <c:numCache>
                <c:formatCode>General</c:formatCode>
                <c:ptCount val="3"/>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D$2:$D$4</c:f>
              <c:numCache>
                <c:formatCode>General</c:formatCode>
                <c:ptCount val="3"/>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6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E$2:$E$4</c:f>
              <c:numCache>
                <c:formatCode>General</c:formatCode>
                <c:ptCount val="3"/>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F$2:$F$4</c:f>
              <c:numCache>
                <c:formatCode>General</c:formatCode>
                <c:ptCount val="3"/>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G$2:$G$4</c:f>
              <c:numCache>
                <c:formatCode>General</c:formatCode>
                <c:ptCount val="3"/>
                <c:pt idx="1">
                  <c:v>18.137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H$2:$H$4</c:f>
              <c:numCache>
                <c:formatCode>General</c:formatCode>
                <c:ptCount val="3"/>
                <c:pt idx="0">
                  <c:v>22.1711</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I$2:$I$4</c:f>
              <c:numCache>
                <c:formatCode>General</c:formatCode>
                <c:ptCount val="3"/>
                <c:pt idx="1">
                  <c:v>21.7527</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J$2:$J$4</c:f>
              <c:numCache>
                <c:formatCode>General</c:formatCode>
                <c:ptCount val="3"/>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K$2:$K$4</c:f>
              <c:numCache>
                <c:formatCode>General</c:formatCode>
                <c:ptCount val="3"/>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L$2:$L$4</c:f>
              <c:numCache>
                <c:formatCode>General</c:formatCode>
                <c:ptCount val="3"/>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5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M$2:$M$4</c:f>
              <c:numCache>
                <c:formatCode>General</c:formatCode>
                <c:ptCount val="3"/>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N$2:$N$4</c:f>
              <c:numCache>
                <c:formatCode>General</c:formatCode>
                <c:ptCount val="3"/>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8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O$2:$O$4</c:f>
              <c:numCache>
                <c:formatCode>General</c:formatCode>
                <c:ptCount val="3"/>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P$2:$P$4</c:f>
              <c:numCache>
                <c:formatCode>General</c:formatCode>
                <c:ptCount val="3"/>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C$2:$C$4</c:f>
              <c:numCache>
                <c:formatCode>General</c:formatCode>
                <c:ptCount val="3"/>
                <c:pt idx="2">
                  <c:v>4.437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D$2:$D$4</c:f>
              <c:numCache>
                <c:formatCode>General</c:formatCode>
                <c:ptCount val="3"/>
                <c:pt idx="1">
                  <c:v>2.1773</c:v>
                </c:pt>
                <c:pt idx="2">
                  <c:v>8.4824</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6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E$2:$E$4</c:f>
              <c:numCache>
                <c:formatCode>General</c:formatCode>
                <c:ptCount val="3"/>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F$2:$F$4</c:f>
              <c:numCache>
                <c:formatCode>General</c:formatCode>
                <c:ptCount val="3"/>
                <c:pt idx="0">
                  <c:v>14.992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G$2:$G$4</c:f>
              <c:numCache>
                <c:formatCode>General</c:formatCode>
                <c:ptCount val="3"/>
                <c:pt idx="2">
                  <c:v>0.794</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H$2:$H$4</c:f>
              <c:numCache>
                <c:formatCode>General</c:formatCode>
                <c:ptCount val="3"/>
                <c:pt idx="2">
                  <c:v>25.0</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I$2:$I$4</c:f>
              <c:numCache>
                <c:formatCode>General</c:formatCode>
                <c:ptCount val="3"/>
                <c:pt idx="0">
                  <c:v>20.06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5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J$2:$J$4</c:f>
              <c:numCache>
                <c:formatCode>General</c:formatCode>
                <c:ptCount val="3"/>
                <c:pt idx="0">
                  <c:v>19.9609</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K$2:$K$4</c:f>
              <c:numCache>
                <c:formatCode>General</c:formatCode>
                <c:ptCount val="3"/>
                <c:pt idx="1">
                  <c:v>1.937</c:v>
                </c:pt>
                <c:pt idx="2">
                  <c:v>2.5</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L$2:$L$4</c:f>
              <c:numCache>
                <c:formatCode>General</c:formatCode>
                <c:ptCount val="3"/>
                <c:pt idx="1">
                  <c:v>5.0484</c:v>
                </c:pt>
                <c:pt idx="2">
                  <c:v>3.823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4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M$2:$M$4</c:f>
              <c:numCache>
                <c:formatCode>General</c:formatCode>
                <c:ptCount val="3"/>
                <c:pt idx="1">
                  <c:v>3.972</c:v>
                </c:pt>
                <c:pt idx="2">
                  <c:v>6.4918</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N$2:$N$4</c:f>
              <c:numCache>
                <c:formatCode>General</c:formatCode>
                <c:ptCount val="3"/>
                <c:pt idx="1">
                  <c:v>1.0034</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6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O$2:$O$4</c:f>
              <c:numCache>
                <c:formatCode>General</c:formatCode>
                <c:ptCount val="3"/>
                <c:pt idx="2">
                  <c:v>5.6071</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P$2:$P$4</c:f>
              <c:numCache>
                <c:formatCode>General</c:formatCode>
                <c:ptCount val="3"/>
                <c:pt idx="1">
                  <c:v>5.9797</c:v>
                </c:pt>
                <c:pt idx="2">
                  <c:v>10.5602</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Q$2:$Q$4</c:f>
              <c:numCache>
                <c:formatCode>General</c:formatCode>
                <c:ptCount val="3"/>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dLblPos val="t"/>
              <c:showLegendKey val="0"/>
              <c:showVal val="1"/>
              <c:showCatName val="0"/>
              <c:showSerName val="0"/>
              <c:showPercent val="0"/>
              <c:showBubbleSize val="0"/>
            </c:dLbl>
            <c:dLbl>
              <c:idx val="1"/>
              <c:tx>
                <c:rich>
                  <a:bodyPr/>
                  <a:lstStyle/>
                  <a:p>
                    <a:r>
                      <a:t>26.91</a:t>
                    </a:r>
                  </a:p>
                </c:rich>
              </c:tx>
              <c:dLblPos val="t"/>
              <c:showLegendKey val="0"/>
              <c:showVal val="1"/>
              <c:showCatName val="0"/>
              <c:showSerName val="0"/>
              <c:showPercent val="0"/>
              <c:showBubbleSize val="0"/>
            </c:dLbl>
            <c:dLbl>
              <c:idx val="2"/>
              <c:tx>
                <c:rich>
                  <a:bodyPr/>
                  <a:lstStyle/>
                  <a:p>
                    <a:r>
                      <a:t>16.88</a:t>
                    </a:r>
                  </a:p>
                </c:rich>
              </c:tx>
              <c:dLblPos val="t"/>
              <c:showLegendKey val="0"/>
              <c:showVal val="1"/>
              <c:showCatName val="0"/>
              <c:showSerName val="0"/>
              <c:showPercent val="0"/>
              <c:showBubbleSize val="0"/>
            </c:dLbl>
            <c:dLbl>
              <c:idx val="3"/>
              <c:tx>
                <c:rich>
                  <a:bodyPr/>
                  <a:lstStyle/>
                  <a:p>
                    <a:r>
                      <a:t>13.58</a:t>
                    </a:r>
                  </a:p>
                </c:rich>
              </c:tx>
              <c:dLblPos val="t"/>
              <c:showLegendKey val="0"/>
              <c:showVal val="1"/>
              <c:showCatName val="0"/>
              <c:showSerName val="0"/>
              <c:showPercent val="0"/>
              <c:showBubbleSize val="0"/>
            </c:dLbl>
            <c:dLbl>
              <c:idx val="4"/>
              <c:tx>
                <c:rich>
                  <a:bodyPr/>
                  <a:lstStyle/>
                  <a:p>
                    <a:r>
                      <a:t>23.94</a:t>
                    </a:r>
                  </a:p>
                </c:rich>
              </c:tx>
              <c:dLblPos val="t"/>
              <c:showLegendKey val="0"/>
              <c:showVal val="1"/>
              <c:showCatName val="0"/>
              <c:showSerName val="0"/>
              <c:showPercent val="0"/>
              <c:showBubbleSize val="0"/>
            </c:dLbl>
            <c:dLbl>
              <c:idx val="5"/>
              <c:tx>
                <c:rich>
                  <a:bodyPr/>
                  <a:lstStyle/>
                  <a:p>
                    <a:r>
                      <a:t>12.68</a:t>
                    </a:r>
                  </a:p>
                </c:rich>
              </c:tx>
              <c:dLblPos val="t"/>
              <c:showLegendKey val="0"/>
              <c:showVal val="1"/>
              <c:showCatName val="0"/>
              <c:showSerName val="0"/>
              <c:showPercent val="0"/>
              <c:showBubbleSize val="0"/>
            </c:dLbl>
            <c:dLbl>
              <c:idx val="6"/>
              <c:tx>
                <c:rich>
                  <a:bodyPr/>
                  <a:lstStyle/>
                  <a:p>
                    <a:r>
                      <a:t>21.73</a:t>
                    </a:r>
                  </a:p>
                </c:rich>
              </c:tx>
              <c:dLblPos val="t"/>
              <c:showLegendKey val="0"/>
              <c:showVal val="1"/>
              <c:showCatName val="0"/>
              <c:showSerName val="0"/>
              <c:showPercent val="0"/>
              <c:showBubbleSize val="0"/>
            </c:dLbl>
            <c:dLbl>
              <c:idx val="7"/>
              <c:tx>
                <c:rich>
                  <a:bodyPr/>
                  <a:lstStyle/>
                  <a:p>
                    <a:r>
                      <a:t>38.98</a:t>
                    </a:r>
                  </a:p>
                </c:rich>
              </c:tx>
              <c:dLblPos val="t"/>
              <c:showLegendKey val="0"/>
              <c:showVal val="1"/>
              <c:showCatName val="0"/>
              <c:showSerName val="0"/>
              <c:showPercent val="0"/>
              <c:showBubbleSize val="0"/>
            </c:dLbl>
            <c:dLbl>
              <c:idx val="8"/>
              <c:tx>
                <c:rich>
                  <a:bodyPr/>
                  <a:lstStyle/>
                  <a:p>
                    <a:r>
                      <a:t>10.59</a:t>
                    </a:r>
                  </a:p>
                </c:rich>
              </c:tx>
              <c:dLblPos val="t"/>
              <c:showLegendKey val="0"/>
              <c:showVal val="1"/>
              <c:showCatName val="0"/>
              <c:showSerName val="0"/>
              <c:showPercent val="0"/>
              <c:showBubbleSize val="0"/>
            </c:dLbl>
            <c:dLbl>
              <c:idx val="9"/>
              <c:tx>
                <c:rich>
                  <a:bodyPr/>
                  <a:lstStyle/>
                  <a:p>
                    <a:r>
                      <a:t>11.67</a:t>
                    </a:r>
                  </a:p>
                </c:rich>
              </c:tx>
              <c:dLblPos val="t"/>
              <c:showLegendKey val="0"/>
              <c:showVal val="1"/>
              <c:showCatName val="0"/>
              <c:showSerName val="0"/>
              <c:showPercent val="0"/>
              <c:showBubbleSize val="0"/>
            </c:dLbl>
            <c:dLbl>
              <c:idx val="10"/>
              <c:tx>
                <c:rich>
                  <a:bodyPr/>
                  <a:lstStyle/>
                  <a:p>
                    <a:r>
                      <a:t>38.77</a:t>
                    </a:r>
                  </a:p>
                </c:rich>
              </c:tx>
              <c:dLblPos val="t"/>
              <c:showLegendKey val="0"/>
              <c:showVal val="1"/>
              <c:showCatName val="0"/>
              <c:showSerName val="0"/>
              <c:showPercent val="0"/>
              <c:showBubbleSize val="0"/>
            </c:dLbl>
            <c:dLbl>
              <c:idx val="11"/>
              <c:tx>
                <c:rich>
                  <a:bodyPr/>
                  <a:lstStyle/>
                  <a:p>
                    <a:r>
                      <a:t>12.0</a:t>
                    </a:r>
                  </a:p>
                </c:rich>
              </c:tx>
              <c:dLblPos val="t"/>
              <c:showLegendKey val="0"/>
              <c:showVal val="1"/>
              <c:showCatName val="0"/>
              <c:showSerName val="0"/>
              <c:showPercent val="0"/>
              <c:showBubbleSize val="0"/>
            </c:dLbl>
            <c:dLbl>
              <c:idx val="12"/>
              <c:tx>
                <c:rich>
                  <a:bodyPr/>
                  <a:lstStyle/>
                  <a:p>
                    <a:r>
                      <a:t>12.71</a:t>
                    </a:r>
                  </a:p>
                </c:rich>
              </c:tx>
              <c:dLblPos val="t"/>
              <c:showLegendKey val="0"/>
              <c:showVal val="1"/>
              <c:showCatName val="0"/>
              <c:showSerName val="0"/>
              <c:showPercent val="0"/>
              <c:showBubbleSize val="0"/>
            </c:dLbl>
            <c:dLbl>
              <c:idx val="13"/>
              <c:tx>
                <c:rich>
                  <a:bodyPr/>
                  <a:lstStyle/>
                  <a:p>
                    <a:r>
                      <a:t>29.23</a:t>
                    </a:r>
                  </a:p>
                </c:rich>
              </c:tx>
              <c:dLblPos val="t"/>
              <c:showLegendKey val="0"/>
              <c:showVal val="1"/>
              <c:showCatName val="0"/>
              <c:showSerName val="0"/>
              <c:showPercent val="0"/>
              <c:showBubbleSize val="0"/>
            </c:dLbl>
            <c:dLbl>
              <c:idx val="14"/>
              <c:tx>
                <c:rich>
                  <a:bodyPr/>
                  <a:lstStyle/>
                  <a:p>
                    <a:r>
                      <a:t>5.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SCHICK HYDRO 3 SENSITIVE 3 BLADE REFILL SENSITIVE 5CT</c:v>
                </c:pt>
                <c:pt idx="6">
                  <c:v>SCHICK HYDRO 3 SENSITIVE 3 BLADE REFILL SENSITIVE 12CT</c:v>
                </c:pt>
                <c:pt idx="7">
                  <c:v>HYDRO 5 DRY SKIN 5 BLADE REFILL DRY 12CT</c:v>
                </c:pt>
                <c:pt idx="8">
                  <c:v>HYDRO 5 SENSITIVE 5 BLADE RAZOR SENSITIVE 3CT</c:v>
                </c:pt>
                <c:pt idx="9">
                  <c:v>HYDRO 5 DRY SKIN 5 BLADE RAZOR DRY 3CT</c:v>
                </c:pt>
                <c:pt idx="10">
                  <c:v>HYDRO 5 SENSITIVE 5 BLADE RAZOR SENSITIVE 17CT</c:v>
                </c:pt>
                <c:pt idx="11">
                  <c:v>SCHICK QUATTRO FOR MEN 4 BLADE RAZOR NORMAL 4CT</c:v>
                </c:pt>
                <c:pt idx="12">
                  <c:v>SCHICK HYDRO 3 SENSITIVE 3 BLADE RAZOR SENSITIVE 4CT</c:v>
                </c:pt>
                <c:pt idx="13">
                  <c:v>SCHICK QUATTRO FOR MEN 4 BLADE RAZOR NORMAL 16CT</c:v>
                </c:pt>
                <c:pt idx="14">
                  <c:v>SCHICK QUATTRO FOR MEN SILVER WHITE 4 BLADE RAZOR NORMAL 1CT</c:v>
                </c:pt>
              </c:strCache>
            </c:strRef>
          </c:cat>
          <c:val>
            <c:numRef>
              <c:f>Sheet1!$B$2:$B$16</c:f>
              <c:numCache>
                <c:formatCode>General</c:formatCode>
                <c:ptCount val="15"/>
                <c:pt idx="0">
                  <c:v>15.22</c:v>
                </c:pt>
                <c:pt idx="1">
                  <c:v>26.91</c:v>
                </c:pt>
                <c:pt idx="2">
                  <c:v>16.88</c:v>
                </c:pt>
                <c:pt idx="3">
                  <c:v>13.58</c:v>
                </c:pt>
                <c:pt idx="4">
                  <c:v>23.94</c:v>
                </c:pt>
                <c:pt idx="5">
                  <c:v>12.68</c:v>
                </c:pt>
                <c:pt idx="6">
                  <c:v>21.73</c:v>
                </c:pt>
                <c:pt idx="7">
                  <c:v>38.98</c:v>
                </c:pt>
                <c:pt idx="8">
                  <c:v>10.59</c:v>
                </c:pt>
                <c:pt idx="9">
                  <c:v>11.67</c:v>
                </c:pt>
                <c:pt idx="10">
                  <c:v>38.77</c:v>
                </c:pt>
                <c:pt idx="11">
                  <c:v>12.0</c:v>
                </c:pt>
                <c:pt idx="12">
                  <c:v>12.71</c:v>
                </c:pt>
                <c:pt idx="13">
                  <c:v>29.23</c:v>
                </c:pt>
                <c:pt idx="14">
                  <c:v>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dLblPos val="t"/>
              <c:showLegendKey val="0"/>
              <c:showVal val="1"/>
              <c:showCatName val="0"/>
              <c:showSerName val="0"/>
              <c:showPercent val="0"/>
              <c:showBubbleSize val="0"/>
            </c:dLbl>
            <c:dLbl>
              <c:idx val="1"/>
              <c:tx>
                <c:rich>
                  <a:bodyPr/>
                  <a:lstStyle/>
                  <a:p>
                    <a:r>
                      <a:t>15.52</a:t>
                    </a:r>
                  </a:p>
                </c:rich>
              </c:tx>
              <c:dLblPos val="t"/>
              <c:showLegendKey val="0"/>
              <c:showVal val="1"/>
              <c:showCatName val="0"/>
              <c:showSerName val="0"/>
              <c:showPercent val="0"/>
              <c:showBubbleSize val="0"/>
            </c:dLbl>
            <c:dLbl>
              <c:idx val="2"/>
              <c:tx>
                <c:rich>
                  <a:bodyPr/>
                  <a:lstStyle/>
                  <a:p>
                    <a:r>
                      <a:t>16.73</a:t>
                    </a:r>
                  </a:p>
                </c:rich>
              </c:tx>
              <c:dLblPos val="t"/>
              <c:showLegendKey val="0"/>
              <c:showVal val="1"/>
              <c:showCatName val="0"/>
              <c:showSerName val="0"/>
              <c:showPercent val="0"/>
              <c:showBubbleSize val="0"/>
            </c:dLbl>
            <c:dLbl>
              <c:idx val="3"/>
              <c:tx>
                <c:rich>
                  <a:bodyPr/>
                  <a:lstStyle/>
                  <a:p>
                    <a:r>
                      <a:t>1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REMO 5 BLADE REFILL NORMAL 4CT</c:v>
                </c:pt>
                <c:pt idx="1">
                  <c:v>CREMO 5 BLADE RAZOR NORMAL 2CT</c:v>
                </c:pt>
                <c:pt idx="2">
                  <c:v>CREMO SILVER HOLIDAY GIFT PACK REM BLADES RAZOR 5CT</c:v>
                </c:pt>
                <c:pt idx="3">
                  <c:v>CREMO SILVER HOLIDAY GIFT PACK 5 BLADE RAZOR 5CT</c:v>
                </c:pt>
              </c:strCache>
            </c:strRef>
          </c:cat>
          <c:val>
            <c:numRef>
              <c:f>Sheet1!$B$2:$B$5</c:f>
              <c:numCache>
                <c:formatCode>General</c:formatCode>
                <c:ptCount val="4"/>
                <c:pt idx="0">
                  <c:v>13.9</c:v>
                </c:pt>
                <c:pt idx="1">
                  <c:v>15.52</c:v>
                </c:pt>
                <c:pt idx="2">
                  <c:v>16.73</c:v>
                </c:pt>
                <c:pt idx="3">
                  <c:v>1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dLblPos val="t"/>
              <c:showLegendKey val="0"/>
              <c:showVal val="1"/>
              <c:showCatName val="0"/>
              <c:showSerName val="0"/>
              <c:showPercent val="0"/>
              <c:showBubbleSize val="0"/>
            </c:dLbl>
            <c:dLbl>
              <c:idx val="1"/>
              <c:tx>
                <c:rich>
                  <a:bodyPr/>
                  <a:lstStyle/>
                  <a:p>
                    <a:r>
                      <a:t>26.51</a:t>
                    </a:r>
                  </a:p>
                </c:rich>
              </c:tx>
              <c:dLblPos val="t"/>
              <c:showLegendKey val="0"/>
              <c:showVal val="1"/>
              <c:showCatName val="0"/>
              <c:showSerName val="0"/>
              <c:showPercent val="0"/>
              <c:showBubbleSize val="0"/>
            </c:dLbl>
            <c:dLbl>
              <c:idx val="2"/>
              <c:tx>
                <c:rich>
                  <a:bodyPr/>
                  <a:lstStyle/>
                  <a:p>
                    <a:r>
                      <a:t>9.53</a:t>
                    </a:r>
                  </a:p>
                </c:rich>
              </c:tx>
              <c:dLblPos val="t"/>
              <c:showLegendKey val="0"/>
              <c:showVal val="1"/>
              <c:showCatName val="0"/>
              <c:showSerName val="0"/>
              <c:showPercent val="0"/>
              <c:showBubbleSize val="0"/>
            </c:dLbl>
            <c:dLbl>
              <c:idx val="3"/>
              <c:tx>
                <c:rich>
                  <a:bodyPr/>
                  <a:lstStyle/>
                  <a:p>
                    <a:r>
                      <a:t>9.96</a:t>
                    </a:r>
                  </a:p>
                </c:rich>
              </c:tx>
              <c:dLblPos val="t"/>
              <c:showLegendKey val="0"/>
              <c:showVal val="1"/>
              <c:showCatName val="0"/>
              <c:showSerName val="0"/>
              <c:showPercent val="0"/>
              <c:showBubbleSize val="0"/>
            </c:dLbl>
            <c:dLbl>
              <c:idx val="4"/>
              <c:tx>
                <c:rich>
                  <a:bodyPr/>
                  <a:lstStyle/>
                  <a:p>
                    <a:r>
                      <a:t>9.99</a:t>
                    </a:r>
                  </a:p>
                </c:rich>
              </c:tx>
              <c:dLblPos val="t"/>
              <c:showLegendKey val="0"/>
              <c:showVal val="1"/>
              <c:showCatName val="0"/>
              <c:showSerName val="0"/>
              <c:showPercent val="0"/>
              <c:showBubbleSize val="0"/>
            </c:dLbl>
            <c:dLbl>
              <c:idx val="5"/>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YDRO 5 SENSITIVE 5 BLADE REFILL SENSITIVE 6CT</c:v>
                </c:pt>
                <c:pt idx="1">
                  <c:v>HYDRO 5 SENSITIVE 5 BLADE REFILL SENSITIVE 12CT</c:v>
                </c:pt>
                <c:pt idx="2">
                  <c:v>SCHICK HYDRO 3 SENSITIVE 3 BLADE REFILL SENSITIVE 5CT</c:v>
                </c:pt>
                <c:pt idx="3">
                  <c:v>HYDRO 5 SENSITIVE 5 BLADE RAZOR SENSITIVE 3CT</c:v>
                </c:pt>
                <c:pt idx="4">
                  <c:v>HYDRO 5 SENSITIVE GRAY HOLIDAY GIFT PACK 5 BLADE RAZOR SENSITIVE 3CT</c:v>
                </c:pt>
                <c:pt idx="5">
                  <c:v>SCHICK HYDRO 3 SENSITIVE 3 BLADE RAZOR SENSITIVE 4CT</c:v>
                </c:pt>
              </c:strCache>
            </c:strRef>
          </c:cat>
          <c:val>
            <c:numRef>
              <c:f>Sheet1!$B$2:$B$7</c:f>
              <c:numCache>
                <c:formatCode>General</c:formatCode>
                <c:ptCount val="6"/>
                <c:pt idx="0">
                  <c:v>14.73</c:v>
                </c:pt>
                <c:pt idx="1">
                  <c:v>26.51</c:v>
                </c:pt>
                <c:pt idx="2">
                  <c:v>9.53</c:v>
                </c:pt>
                <c:pt idx="3">
                  <c:v>9.96</c:v>
                </c:pt>
                <c:pt idx="4">
                  <c:v>9.99</c:v>
                </c:pt>
                <c:pt idx="5">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4.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2</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8</a:t>
                    </a:r>
                  </a:p>
                </c:rich>
              </c:tx>
              <c:dLblPos val="t"/>
              <c:showLegendKey val="0"/>
              <c:showVal val="1"/>
              <c:showCatName val="0"/>
              <c:showSerName val="0"/>
              <c:showPercent val="0"/>
              <c:showBubbleSize val="0"/>
            </c:dLbl>
            <c:dLbl>
              <c:idx val="9"/>
              <c:tx>
                <c:rich>
                  <a:bodyPr/>
                  <a:lstStyle/>
                  <a:p>
                    <a:r>
                      <a:t>15.11</a:t>
                    </a:r>
                  </a:p>
                </c:rich>
              </c:tx>
              <c:dLblPos val="t"/>
              <c:showLegendKey val="0"/>
              <c:showVal val="1"/>
              <c:showCatName val="0"/>
              <c:showSerName val="0"/>
              <c:showPercent val="0"/>
              <c:showBubbleSize val="0"/>
            </c:dLbl>
            <c:dLbl>
              <c:idx val="10"/>
              <c:tx>
                <c:rich>
                  <a:bodyPr/>
                  <a:lstStyle/>
                  <a:p>
                    <a:r>
                      <a:t>8.99</a:t>
                    </a:r>
                  </a:p>
                </c:rich>
              </c:tx>
              <c:dLblPos val="t"/>
              <c:showLegendKey val="0"/>
              <c:showVal val="1"/>
              <c:showCatName val="0"/>
              <c:showSerName val="0"/>
              <c:showPercent val="0"/>
              <c:showBubbleSize val="0"/>
            </c:dLbl>
            <c:dLbl>
              <c:idx val="11"/>
              <c:tx>
                <c:rich>
                  <a:bodyPr/>
                  <a:lstStyle/>
                  <a:p>
                    <a:r>
                      <a:t>9.46</a:t>
                    </a:r>
                  </a:p>
                </c:rich>
              </c:tx>
              <c:dLblPos val="t"/>
              <c:showLegendKey val="0"/>
              <c:showVal val="1"/>
              <c:showCatName val="0"/>
              <c:showSerName val="0"/>
              <c:showPercent val="0"/>
              <c:showBubbleSize val="0"/>
            </c:dLbl>
            <c:dLbl>
              <c:idx val="12"/>
              <c:tx>
                <c:rich>
                  <a:bodyPr/>
                  <a:lstStyle/>
                  <a:p>
                    <a:r>
                      <a:t>6.51</a:t>
                    </a:r>
                  </a:p>
                </c:rich>
              </c:tx>
              <c:dLblPos val="t"/>
              <c:showLegendKey val="0"/>
              <c:showVal val="1"/>
              <c:showCatName val="0"/>
              <c:showSerName val="0"/>
              <c:showPercent val="0"/>
              <c:showBubbleSize val="0"/>
            </c:dLbl>
            <c:dLbl>
              <c:idx val="13"/>
              <c:tx>
                <c:rich>
                  <a:bodyPr/>
                  <a:lstStyle/>
                  <a:p>
                    <a:r>
                      <a:t>2.6</a:t>
                    </a:r>
                  </a:p>
                </c:rich>
              </c:tx>
              <c:dLblPos val="t"/>
              <c:showLegendKey val="0"/>
              <c:showVal val="1"/>
              <c:showCatName val="0"/>
              <c:showSerName val="0"/>
              <c:showPercent val="0"/>
              <c:showBubbleSize val="0"/>
            </c:dLbl>
            <c:dLbl>
              <c:idx val="14"/>
              <c:tx>
                <c:rich>
                  <a:bodyPr/>
                  <a:lstStyle/>
                  <a:p>
                    <a:r>
                      <a:t>9.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SCHICK XTREME 4 OUTLAST 4 BLADE DISPOSABLE NORMAL 3CT</c:v>
                </c:pt>
                <c:pt idx="11">
                  <c:v>SCHICK XTREME 3 FACE AND BODY 3 BLADE DISPOSABLE NORMAL 4CT</c:v>
                </c:pt>
                <c:pt idx="12">
                  <c:v>SCHICK XTREME 5 BLACK GRAY 5 BLADE DISPOSABLE SENSITIVE 2CT</c:v>
                </c:pt>
                <c:pt idx="13">
                  <c:v>SCHICK XTREME 3 SENSITIVE 3 BLADE DISPOSABLE SENSITIVE 1CT</c:v>
                </c:pt>
                <c:pt idx="14">
                  <c:v>SCHICK XTREME 3 DUO COMFORT 3 BLADE DISPOSABLE NORMAL 4CT</c:v>
                </c:pt>
              </c:strCache>
            </c:strRef>
          </c:cat>
          <c:val>
            <c:numRef>
              <c:f>Sheet1!$B$2:$B$16</c:f>
              <c:numCache>
                <c:formatCode>General</c:formatCode>
                <c:ptCount val="15"/>
                <c:pt idx="0">
                  <c:v>20.09</c:v>
                </c:pt>
                <c:pt idx="1">
                  <c:v>7.29</c:v>
                </c:pt>
                <c:pt idx="2">
                  <c:v>7.27</c:v>
                </c:pt>
                <c:pt idx="3">
                  <c:v>11.92</c:v>
                </c:pt>
                <c:pt idx="4">
                  <c:v>9.2</c:v>
                </c:pt>
                <c:pt idx="5">
                  <c:v>16.66</c:v>
                </c:pt>
                <c:pt idx="6">
                  <c:v>16.0</c:v>
                </c:pt>
                <c:pt idx="7">
                  <c:v>11.19</c:v>
                </c:pt>
                <c:pt idx="8">
                  <c:v>15.18</c:v>
                </c:pt>
                <c:pt idx="9">
                  <c:v>15.11</c:v>
                </c:pt>
                <c:pt idx="10">
                  <c:v>8.99</c:v>
                </c:pt>
                <c:pt idx="11">
                  <c:v>9.46</c:v>
                </c:pt>
                <c:pt idx="12">
                  <c:v>6.51</c:v>
                </c:pt>
                <c:pt idx="13">
                  <c:v>2.6</c:v>
                </c:pt>
                <c:pt idx="14">
                  <c:v>9.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4.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4.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2</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49</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9.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SCHICK XTREME 3 SENSITIVE GREEN HOLIDAY GIFT PACK 3 BLADE DISPOSABLE SENSITIVE 8CT</c:v>
                </c:pt>
              </c:strCache>
            </c:strRef>
          </c:cat>
          <c:val>
            <c:numRef>
              <c:f>Sheet1!$B$2:$B$9</c:f>
              <c:numCache>
                <c:formatCode>General</c:formatCode>
                <c:ptCount val="8"/>
                <c:pt idx="0">
                  <c:v>6.5</c:v>
                </c:pt>
                <c:pt idx="1">
                  <c:v>11.02</c:v>
                </c:pt>
                <c:pt idx="2">
                  <c:v>11.02</c:v>
                </c:pt>
                <c:pt idx="3">
                  <c:v>6.53</c:v>
                </c:pt>
                <c:pt idx="4">
                  <c:v>15.1</c:v>
                </c:pt>
                <c:pt idx="5">
                  <c:v>6.49</c:v>
                </c:pt>
                <c:pt idx="6">
                  <c:v>15.04</c:v>
                </c:pt>
                <c:pt idx="7">
                  <c:v>9.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8</a:t>
                    </a:r>
                  </a:p>
                </c:rich>
              </c:tx>
              <c:dLblPos val="t"/>
              <c:showLegendKey val="0"/>
              <c:showVal val="1"/>
              <c:showCatName val="0"/>
              <c:showSerName val="0"/>
              <c:showPercent val="0"/>
              <c:showBubbleSize val="0"/>
            </c:dLbl>
            <c:dLbl>
              <c:idx val="1"/>
              <c:tx>
                <c:rich>
                  <a:bodyPr/>
                  <a:lstStyle/>
                  <a:p>
                    <a:r>
                      <a:t>27.56</a:t>
                    </a:r>
                  </a:p>
                </c:rich>
              </c:tx>
              <c:dLblPos val="t"/>
              <c:showLegendKey val="0"/>
              <c:showVal val="1"/>
              <c:showCatName val="0"/>
              <c:showSerName val="0"/>
              <c:showPercent val="0"/>
              <c:showBubbleSize val="0"/>
            </c:dLbl>
            <c:dLbl>
              <c:idx val="2"/>
              <c:tx>
                <c:rich>
                  <a:bodyPr/>
                  <a:lstStyle/>
                  <a:p>
                    <a:r>
                      <a:t>17.52</a:t>
                    </a:r>
                  </a:p>
                </c:rich>
              </c:tx>
              <c:dLblPos val="t"/>
              <c:showLegendKey val="0"/>
              <c:showVal val="1"/>
              <c:showCatName val="0"/>
              <c:showSerName val="0"/>
              <c:showPercent val="0"/>
              <c:showBubbleSize val="0"/>
            </c:dLbl>
            <c:dLbl>
              <c:idx val="3"/>
              <c:tx>
                <c:rich>
                  <a:bodyPr/>
                  <a:lstStyle/>
                  <a:p>
                    <a:r>
                      <a:t>14.1</a:t>
                    </a:r>
                  </a:p>
                </c:rich>
              </c:tx>
              <c:dLblPos val="t"/>
              <c:showLegendKey val="0"/>
              <c:showVal val="1"/>
              <c:showCatName val="0"/>
              <c:showSerName val="0"/>
              <c:showPercent val="0"/>
              <c:showBubbleSize val="0"/>
            </c:dLbl>
            <c:dLbl>
              <c:idx val="4"/>
              <c:tx>
                <c:rich>
                  <a:bodyPr/>
                  <a:lstStyle/>
                  <a:p>
                    <a:r>
                      <a:t>24.56</a:t>
                    </a:r>
                  </a:p>
                </c:rich>
              </c:tx>
              <c:dLblPos val="t"/>
              <c:showLegendKey val="0"/>
              <c:showVal val="1"/>
              <c:showCatName val="0"/>
              <c:showSerName val="0"/>
              <c:showPercent val="0"/>
              <c:showBubbleSize val="0"/>
            </c:dLbl>
            <c:dLbl>
              <c:idx val="5"/>
              <c:tx>
                <c:rich>
                  <a:bodyPr/>
                  <a:lstStyle/>
                  <a:p>
                    <a:r>
                      <a:t>12.41</a:t>
                    </a:r>
                  </a:p>
                </c:rich>
              </c:tx>
              <c:dLblPos val="t"/>
              <c:showLegendKey val="0"/>
              <c:showVal val="1"/>
              <c:showCatName val="0"/>
              <c:showSerName val="0"/>
              <c:showPercent val="0"/>
              <c:showBubbleSize val="0"/>
            </c:dLbl>
            <c:dLbl>
              <c:idx val="6"/>
              <c:tx>
                <c:rich>
                  <a:bodyPr/>
                  <a:lstStyle/>
                  <a:p>
                    <a:r>
                      <a:t>22.17</a:t>
                    </a:r>
                  </a:p>
                </c:rich>
              </c:tx>
              <c:dLblPos val="t"/>
              <c:showLegendKey val="0"/>
              <c:showVal val="1"/>
              <c:showCatName val="0"/>
              <c:showSerName val="0"/>
              <c:showPercent val="0"/>
              <c:showBubbleSize val="0"/>
            </c:dLbl>
            <c:dLbl>
              <c:idx val="7"/>
              <c:tx>
                <c:rich>
                  <a:bodyPr/>
                  <a:lstStyle/>
                  <a:p>
                    <a:r>
                      <a:t>15.29</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11.69</a:t>
                    </a:r>
                  </a:p>
                </c:rich>
              </c:tx>
              <c:dLblPos val="t"/>
              <c:showLegendKey val="0"/>
              <c:showVal val="1"/>
              <c:showCatName val="0"/>
              <c:showSerName val="0"/>
              <c:showPercent val="0"/>
              <c:showBubbleSize val="0"/>
            </c:dLbl>
            <c:dLbl>
              <c:idx val="10"/>
              <c:tx>
                <c:rich>
                  <a:bodyPr/>
                  <a:lstStyle/>
                  <a:p>
                    <a:r>
                      <a:t>12.29</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40.74</a:t>
                    </a:r>
                  </a:p>
                </c:rich>
              </c:tx>
              <c:dLblPos val="t"/>
              <c:showLegendKey val="0"/>
              <c:showVal val="1"/>
              <c:showCatName val="0"/>
              <c:showSerName val="0"/>
              <c:showPercent val="0"/>
              <c:showBubbleSize val="0"/>
            </c:dLbl>
            <c:dLbl>
              <c:idx val="13"/>
              <c:tx>
                <c:rich>
                  <a:bodyPr/>
                  <a:lstStyle/>
                  <a:p>
                    <a:r>
                      <a:t>12.27</a:t>
                    </a:r>
                  </a:p>
                </c:rich>
              </c:tx>
              <c:dLblPos val="t"/>
              <c:showLegendKey val="0"/>
              <c:showVal val="1"/>
              <c:showCatName val="0"/>
              <c:showSerName val="0"/>
              <c:showPercent val="0"/>
              <c:showBubbleSize val="0"/>
            </c:dLbl>
            <c:dLbl>
              <c:idx val="14"/>
              <c:tx>
                <c:rich>
                  <a:bodyPr/>
                  <a:lstStyle/>
                  <a:p>
                    <a:r>
                      <a:t>28.7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SCHICK HYDRO 3 SENSITIVE 3 BLADE REFILL SENSITIVE 5CT</c:v>
                </c:pt>
                <c:pt idx="6">
                  <c:v>SCHICK HYDRO 3 SENSITIVE 3 BLADE REFILL SENSITIVE 12CT</c:v>
                </c:pt>
                <c:pt idx="7">
                  <c:v>HYDRO 5 DRY SKIN 5 BLADE REFILL NORMAL 4CT</c:v>
                </c:pt>
                <c:pt idx="8">
                  <c:v>HYDRO 5 SENSITIVE 5 BLADE RAZOR SENSITIVE 3CT</c:v>
                </c:pt>
                <c:pt idx="9">
                  <c:v>HYDRO 5 DRY SKIN 5 BLADE RAZOR DRY 3CT</c:v>
                </c:pt>
                <c:pt idx="10">
                  <c:v>SCHICK QUATTRO FOR MEN 4 BLADE RAZOR NORMAL 4CT</c:v>
                </c:pt>
                <c:pt idx="11">
                  <c:v>HYDRO 5 SENSITIVE GRAY HOLIDAY GIFT PACK 5 BLADE RAZOR SENSITIVE 3CT</c:v>
                </c:pt>
                <c:pt idx="12">
                  <c:v>HYDRO 5 SENSITIVE 5 BLADE RAZOR SENSITIVE 17CT</c:v>
                </c:pt>
                <c:pt idx="13">
                  <c:v>SCHICK HYDRO 3 SENSITIVE 3 BLADE RAZOR SENSITIVE 4CT</c:v>
                </c:pt>
                <c:pt idx="14">
                  <c:v>SCHICK QUATTRO FOR MEN 4 BLADE RAZOR NORMAL 16CT</c:v>
                </c:pt>
              </c:strCache>
            </c:strRef>
          </c:cat>
          <c:val>
            <c:numRef>
              <c:f>Sheet1!$B$2:$B$16</c:f>
              <c:numCache>
                <c:formatCode>General</c:formatCode>
                <c:ptCount val="15"/>
                <c:pt idx="0">
                  <c:v>15.58</c:v>
                </c:pt>
                <c:pt idx="1">
                  <c:v>27.56</c:v>
                </c:pt>
                <c:pt idx="2">
                  <c:v>17.52</c:v>
                </c:pt>
                <c:pt idx="3">
                  <c:v>14.1</c:v>
                </c:pt>
                <c:pt idx="4">
                  <c:v>24.56</c:v>
                </c:pt>
                <c:pt idx="5">
                  <c:v>12.41</c:v>
                </c:pt>
                <c:pt idx="6">
                  <c:v>22.17</c:v>
                </c:pt>
                <c:pt idx="7">
                  <c:v>15.29</c:v>
                </c:pt>
                <c:pt idx="8">
                  <c:v>10.58</c:v>
                </c:pt>
                <c:pt idx="9">
                  <c:v>11.69</c:v>
                </c:pt>
                <c:pt idx="10">
                  <c:v>12.29</c:v>
                </c:pt>
                <c:pt idx="11">
                  <c:v>10.0</c:v>
                </c:pt>
                <c:pt idx="12">
                  <c:v>40.74</c:v>
                </c:pt>
                <c:pt idx="13">
                  <c:v>12.27</c:v>
                </c:pt>
                <c:pt idx="14">
                  <c:v>2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a:t>
                    </a:r>
                  </a:p>
                </c:rich>
              </c:tx>
              <c:dLblPos val="t"/>
              <c:showLegendKey val="0"/>
              <c:showVal val="1"/>
              <c:showCatName val="0"/>
              <c:showSerName val="0"/>
              <c:showPercent val="0"/>
              <c:showBubbleSize val="0"/>
            </c:dLbl>
            <c:dLbl>
              <c:idx val="1"/>
              <c:tx>
                <c:rich>
                  <a:bodyPr/>
                  <a:lstStyle/>
                  <a:p>
                    <a:r>
                      <a:t>15.89</a:t>
                    </a:r>
                  </a:p>
                </c:rich>
              </c:tx>
              <c:dLblPos val="t"/>
              <c:showLegendKey val="0"/>
              <c:showVal val="1"/>
              <c:showCatName val="0"/>
              <c:showSerName val="0"/>
              <c:showPercent val="0"/>
              <c:showBubbleSize val="0"/>
            </c:dLbl>
            <c:dLbl>
              <c:idx val="2"/>
              <c:tx>
                <c:rich>
                  <a:bodyPr/>
                  <a:lstStyle/>
                  <a:p>
                    <a:r>
                      <a:t>10.95</a:t>
                    </a:r>
                  </a:p>
                </c:rich>
              </c:tx>
              <c:dLblPos val="t"/>
              <c:showLegendKey val="0"/>
              <c:showVal val="1"/>
              <c:showCatName val="0"/>
              <c:showSerName val="0"/>
              <c:showPercent val="0"/>
              <c:showBubbleSize val="0"/>
            </c:dLbl>
            <c:dLbl>
              <c:idx val="3"/>
              <c:tx>
                <c:rich>
                  <a:bodyPr/>
                  <a:lstStyle/>
                  <a:p>
                    <a:r>
                      <a:t>16.67</a:t>
                    </a:r>
                  </a:p>
                </c:rich>
              </c:tx>
              <c:dLblPos val="t"/>
              <c:showLegendKey val="0"/>
              <c:showVal val="1"/>
              <c:showCatName val="0"/>
              <c:showSerName val="0"/>
              <c:showPercent val="0"/>
              <c:showBubbleSize val="0"/>
            </c:dLbl>
            <c:dLbl>
              <c:idx val="4"/>
              <c:tx>
                <c:rich>
                  <a:bodyPr/>
                  <a:lstStyle/>
                  <a:p>
                    <a:r>
                      <a:t>24.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REMO 5 BLADE REFILL NORMAL 4CT</c:v>
                </c:pt>
                <c:pt idx="1">
                  <c:v>CREMO 5 BLADE RAZOR NORMAL 2CT</c:v>
                </c:pt>
                <c:pt idx="2">
                  <c:v>CREMO SILVER HOLIDAY GIFT PACK 5 BLADE RAZOR 5CT</c:v>
                </c:pt>
                <c:pt idx="3">
                  <c:v>CREMO SILVER HOLIDAY GIFT PACK REM BLADES RAZOR 5CT</c:v>
                </c:pt>
                <c:pt idx="4">
                  <c:v>CREMO HERITAGE BLACK HOLIDAY GIFT PACK REM BLADES RAZOR 5CT</c:v>
                </c:pt>
              </c:strCache>
            </c:strRef>
          </c:cat>
          <c:val>
            <c:numRef>
              <c:f>Sheet1!$B$2:$B$6</c:f>
              <c:numCache>
                <c:formatCode>General</c:formatCode>
                <c:ptCount val="5"/>
                <c:pt idx="0">
                  <c:v>13.8</c:v>
                </c:pt>
                <c:pt idx="1">
                  <c:v>15.89</c:v>
                </c:pt>
                <c:pt idx="2">
                  <c:v>10.95</c:v>
                </c:pt>
                <c:pt idx="3">
                  <c:v>16.67</c:v>
                </c:pt>
                <c:pt idx="4">
                  <c:v>24.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dLblPos val="t"/>
              <c:showLegendKey val="0"/>
              <c:showVal val="1"/>
              <c:showCatName val="0"/>
              <c:showSerName val="0"/>
              <c:showPercent val="0"/>
              <c:showBubbleSize val="0"/>
            </c:dLbl>
            <c:dLbl>
              <c:idx val="1"/>
              <c:tx>
                <c:rich>
                  <a:bodyPr/>
                  <a:lstStyle/>
                  <a:p>
                    <a:r>
                      <a:t>15.52</a:t>
                    </a:r>
                  </a:p>
                </c:rich>
              </c:tx>
              <c:dLblPos val="t"/>
              <c:showLegendKey val="0"/>
              <c:showVal val="1"/>
              <c:showCatName val="0"/>
              <c:showSerName val="0"/>
              <c:showPercent val="0"/>
              <c:showBubbleSize val="0"/>
            </c:dLbl>
            <c:dLbl>
              <c:idx val="2"/>
              <c:tx>
                <c:rich>
                  <a:bodyPr/>
                  <a:lstStyle/>
                  <a:p>
                    <a:r>
                      <a:t>16.73</a:t>
                    </a:r>
                  </a:p>
                </c:rich>
              </c:tx>
              <c:dLblPos val="t"/>
              <c:showLegendKey val="0"/>
              <c:showVal val="1"/>
              <c:showCatName val="0"/>
              <c:showSerName val="0"/>
              <c:showPercent val="0"/>
              <c:showBubbleSize val="0"/>
            </c:dLbl>
            <c:dLbl>
              <c:idx val="3"/>
              <c:tx>
                <c:rich>
                  <a:bodyPr/>
                  <a:lstStyle/>
                  <a:p>
                    <a:r>
                      <a:t>1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REMO 5 BLADE REFILL NORMAL 4CT</c:v>
                </c:pt>
                <c:pt idx="1">
                  <c:v>CREMO 5 BLADE RAZOR NORMAL 2CT</c:v>
                </c:pt>
                <c:pt idx="2">
                  <c:v>CREMO SILVER HOLIDAY GIFT PACK REM BLADES RAZOR 5CT</c:v>
                </c:pt>
                <c:pt idx="3">
                  <c:v>CREMO SILVER HOLIDAY GIFT PACK 5 BLADE RAZOR 5CT</c:v>
                </c:pt>
              </c:strCache>
            </c:strRef>
          </c:cat>
          <c:val>
            <c:numRef>
              <c:f>Sheet1!$B$2:$B$5</c:f>
              <c:numCache>
                <c:formatCode>General</c:formatCode>
                <c:ptCount val="4"/>
                <c:pt idx="0">
                  <c:v>13.9</c:v>
                </c:pt>
                <c:pt idx="1">
                  <c:v>15.52</c:v>
                </c:pt>
                <c:pt idx="2">
                  <c:v>16.73</c:v>
                </c:pt>
                <c:pt idx="3">
                  <c:v>1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1</a:t>
                    </a:r>
                  </a:p>
                </c:rich>
              </c:tx>
              <c:dLblPos val="t"/>
              <c:showLegendKey val="0"/>
              <c:showVal val="1"/>
              <c:showCatName val="0"/>
              <c:showSerName val="0"/>
              <c:showPercent val="0"/>
              <c:showBubbleSize val="0"/>
            </c:dLbl>
            <c:dLbl>
              <c:idx val="1"/>
              <c:tx>
                <c:rich>
                  <a:bodyPr/>
                  <a:lstStyle/>
                  <a:p>
                    <a:r>
                      <a:t>26.97</a:t>
                    </a:r>
                  </a:p>
                </c:rich>
              </c:tx>
              <c:dLblPos val="t"/>
              <c:showLegendKey val="0"/>
              <c:showVal val="1"/>
              <c:showCatName val="0"/>
              <c:showSerName val="0"/>
              <c:showPercent val="0"/>
              <c:showBubbleSize val="0"/>
            </c:dLbl>
            <c:dLbl>
              <c:idx val="2"/>
              <c:tx>
                <c:rich>
                  <a:bodyPr/>
                  <a:lstStyle/>
                  <a:p>
                    <a:r>
                      <a:t>9.92</a:t>
                    </a:r>
                  </a:p>
                </c:rich>
              </c:tx>
              <c:dLblPos val="t"/>
              <c:showLegendKey val="0"/>
              <c:showVal val="1"/>
              <c:showCatName val="0"/>
              <c:showSerName val="0"/>
              <c:showPercent val="0"/>
              <c:showBubbleSize val="0"/>
            </c:dLbl>
            <c:dLbl>
              <c:idx val="3"/>
              <c:tx>
                <c:rich>
                  <a:bodyPr/>
                  <a:lstStyle/>
                  <a:p>
                    <a:r>
                      <a:t>7.76</a:t>
                    </a:r>
                  </a:p>
                </c:rich>
              </c:tx>
              <c:dLblPos val="t"/>
              <c:showLegendKey val="0"/>
              <c:showVal val="1"/>
              <c:showCatName val="0"/>
              <c:showSerName val="0"/>
              <c:showPercent val="0"/>
              <c:showBubbleSize val="0"/>
            </c:dLbl>
            <c:dLbl>
              <c:idx val="4"/>
              <c:tx>
                <c:rich>
                  <a:bodyPr/>
                  <a:lstStyle/>
                  <a:p>
                    <a:r>
                      <a:t>9.96</a:t>
                    </a:r>
                  </a:p>
                </c:rich>
              </c:tx>
              <c:dLblPos val="t"/>
              <c:showLegendKey val="0"/>
              <c:showVal val="1"/>
              <c:showCatName val="0"/>
              <c:showSerName val="0"/>
              <c:showPercent val="0"/>
              <c:showBubbleSize val="0"/>
            </c:dLbl>
            <c:dLbl>
              <c:idx val="5"/>
              <c:tx>
                <c:rich>
                  <a:bodyPr/>
                  <a:lstStyle/>
                  <a:p>
                    <a:r>
                      <a:t>10.0</a:t>
                    </a:r>
                  </a:p>
                </c:rich>
              </c:tx>
              <c:dLblPos val="t"/>
              <c:showLegendKey val="0"/>
              <c:showVal val="1"/>
              <c:showCatName val="0"/>
              <c:showSerName val="0"/>
              <c:showPercent val="0"/>
              <c:showBubbleSize val="0"/>
            </c:dLbl>
            <c:dLbl>
              <c:idx val="6"/>
              <c:tx>
                <c:rich>
                  <a:bodyPr/>
                  <a:lstStyle/>
                  <a:p>
                    <a:r>
                      <a:t>9.97</a:t>
                    </a:r>
                  </a:p>
                </c:rich>
              </c:tx>
              <c:dLblPos val="t"/>
              <c:showLegendKey val="0"/>
              <c:showVal val="1"/>
              <c:showCatName val="0"/>
              <c:showSerName val="0"/>
              <c:showPercent val="0"/>
              <c:showBubbleSize val="0"/>
            </c:dLbl>
            <c:dLbl>
              <c:idx val="7"/>
              <c:tx>
                <c:rich>
                  <a:bodyPr/>
                  <a:lstStyle/>
                  <a:p>
                    <a:r>
                      <a:t>5.74</a:t>
                    </a:r>
                  </a:p>
                </c:rich>
              </c:tx>
              <c:dLblPos val="t"/>
              <c:showLegendKey val="0"/>
              <c:showVal val="1"/>
              <c:showCatName val="0"/>
              <c:showSerName val="0"/>
              <c:showPercent val="0"/>
              <c:showBubbleSize val="0"/>
            </c:dLbl>
            <c:dLbl>
              <c:idx val="8"/>
              <c:tx>
                <c:rich>
                  <a:bodyPr/>
                  <a:lstStyle/>
                  <a:p>
                    <a:r>
                      <a:t>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YDRO 5 SENSITIVE 5 BLADE REFILL SENSITIVE 6CT</c:v>
                </c:pt>
                <c:pt idx="1">
                  <c:v>HYDRO 5 SENSITIVE 5 BLADE REFILL SENSITIVE 12CT</c:v>
                </c:pt>
                <c:pt idx="2">
                  <c:v>SCHICK HYDRO 3 SENSITIVE 3 BLADE REFILL SENSITIVE 5CT</c:v>
                </c:pt>
                <c:pt idx="3">
                  <c:v>HYDRO 5 SENSITIVE 5 BLADE REFILL SENSITIVE 4CT</c:v>
                </c:pt>
                <c:pt idx="4">
                  <c:v>HYDRO 5 SENSITIVE 5 BLADE RAZOR SENSITIVE 3CT</c:v>
                </c:pt>
                <c:pt idx="5">
                  <c:v>HYDRO 5 SENSITIVE GRAY HOLIDAY GIFT PACK 5 BLADE RAZOR SENSITIVE 3CT</c:v>
                </c:pt>
                <c:pt idx="6">
                  <c:v>SCHICK HYDRO 3 SENSITIVE 3 BLADE RAZOR SENSITIVE 4CT</c:v>
                </c:pt>
                <c:pt idx="7">
                  <c:v>HYDRO 5 SENSITIVE 5 BLADE RAZOR SENSITIVE 2CT</c:v>
                </c:pt>
                <c:pt idx="8">
                  <c:v>HYDRO 5 DRY SKIN 5 BLADE RAZOR DRY 2CT</c:v>
                </c:pt>
              </c:strCache>
            </c:strRef>
          </c:cat>
          <c:val>
            <c:numRef>
              <c:f>Sheet1!$B$2:$B$10</c:f>
              <c:numCache>
                <c:formatCode>General</c:formatCode>
                <c:ptCount val="9"/>
                <c:pt idx="0">
                  <c:v>14.91</c:v>
                </c:pt>
                <c:pt idx="1">
                  <c:v>26.97</c:v>
                </c:pt>
                <c:pt idx="2">
                  <c:v>9.92</c:v>
                </c:pt>
                <c:pt idx="3">
                  <c:v>7.76</c:v>
                </c:pt>
                <c:pt idx="4">
                  <c:v>9.96</c:v>
                </c:pt>
                <c:pt idx="5">
                  <c:v>10.0</c:v>
                </c:pt>
                <c:pt idx="6">
                  <c:v>9.97</c:v>
                </c:pt>
                <c:pt idx="7">
                  <c:v>5.74</c:v>
                </c:pt>
                <c:pt idx="8">
                  <c:v>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3.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3.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2</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2</a:t>
                    </a:r>
                  </a:p>
                </c:rich>
              </c:tx>
              <c:dLblPos val="t"/>
              <c:showLegendKey val="0"/>
              <c:showVal val="1"/>
              <c:showCatName val="0"/>
              <c:showSerName val="0"/>
              <c:showPercent val="0"/>
              <c:showBubbleSize val="0"/>
            </c:dLbl>
            <c:dLbl>
              <c:idx val="6"/>
              <c:tx>
                <c:rich>
                  <a:bodyPr/>
                  <a:lstStyle/>
                  <a:p>
                    <a:r>
                      <a:t>14.86</a:t>
                    </a:r>
                  </a:p>
                </c:rich>
              </c:tx>
              <c:dLblPos val="t"/>
              <c:showLegendKey val="0"/>
              <c:showVal val="1"/>
              <c:showCatName val="0"/>
              <c:showSerName val="0"/>
              <c:showPercent val="0"/>
              <c:showBubbleSize val="0"/>
            </c:dLbl>
            <c:dLbl>
              <c:idx val="7"/>
              <c:tx>
                <c:rich>
                  <a:bodyPr/>
                  <a:lstStyle/>
                  <a:p>
                    <a:r>
                      <a:t>10.0</a:t>
                    </a:r>
                  </a:p>
                </c:rich>
              </c:tx>
              <c:dLblPos val="t"/>
              <c:showLegendKey val="0"/>
              <c:showVal val="1"/>
              <c:showCatName val="0"/>
              <c:showSerName val="0"/>
              <c:showPercent val="0"/>
              <c:showBubbleSize val="0"/>
            </c:dLbl>
            <c:dLbl>
              <c:idx val="8"/>
              <c:tx>
                <c:rich>
                  <a:bodyPr/>
                  <a:lstStyle/>
                  <a:p>
                    <a:r>
                      <a:t>9.2</a:t>
                    </a:r>
                  </a:p>
                </c:rich>
              </c:tx>
              <c:dLblPos val="t"/>
              <c:showLegendKey val="0"/>
              <c:showVal val="1"/>
              <c:showCatName val="0"/>
              <c:showSerName val="0"/>
              <c:showPercent val="0"/>
              <c:showBubbleSize val="0"/>
            </c:dLbl>
            <c:dLbl>
              <c:idx val="9"/>
              <c:tx>
                <c:rich>
                  <a:bodyPr/>
                  <a:lstStyle/>
                  <a:p>
                    <a:r>
                      <a:t>9.65</a:t>
                    </a:r>
                  </a:p>
                </c:rich>
              </c:tx>
              <c:dLblPos val="t"/>
              <c:showLegendKey val="0"/>
              <c:showVal val="1"/>
              <c:showCatName val="0"/>
              <c:showSerName val="0"/>
              <c:showPercent val="0"/>
              <c:showBubbleSize val="0"/>
            </c:dLbl>
            <c:dLbl>
              <c:idx val="10"/>
              <c:tx>
                <c:rich>
                  <a:bodyPr/>
                  <a:lstStyle/>
                  <a:p>
                    <a:r>
                      <a:t>8.66</a:t>
                    </a:r>
                  </a:p>
                </c:rich>
              </c:tx>
              <c:dLblPos val="t"/>
              <c:showLegendKey val="0"/>
              <c:showVal val="1"/>
              <c:showCatName val="0"/>
              <c:showSerName val="0"/>
              <c:showPercent val="0"/>
              <c:showBubbleSize val="0"/>
            </c:dLbl>
            <c:dLbl>
              <c:idx val="11"/>
              <c:tx>
                <c:rich>
                  <a:bodyPr/>
                  <a:lstStyle/>
                  <a:p>
                    <a:r>
                      <a:t>16.67</a:t>
                    </a:r>
                  </a:p>
                </c:rich>
              </c:tx>
              <c:dLblPos val="t"/>
              <c:showLegendKey val="0"/>
              <c:showVal val="1"/>
              <c:showCatName val="0"/>
              <c:showSerName val="0"/>
              <c:showPercent val="0"/>
              <c:showBubbleSize val="0"/>
            </c:dLbl>
            <c:dLbl>
              <c:idx val="12"/>
              <c:tx>
                <c:rich>
                  <a:bodyPr/>
                  <a:lstStyle/>
                  <a:p>
                    <a:r>
                      <a:t>9.13</a:t>
                    </a:r>
                  </a:p>
                </c:rich>
              </c:tx>
              <c:dLblPos val="t"/>
              <c:showLegendKey val="0"/>
              <c:showVal val="1"/>
              <c:showCatName val="0"/>
              <c:showSerName val="0"/>
              <c:showPercent val="0"/>
              <c:showBubbleSize val="0"/>
            </c:dLbl>
            <c:dLbl>
              <c:idx val="13"/>
              <c:tx>
                <c:rich>
                  <a:bodyPr/>
                  <a:lstStyle/>
                  <a:p>
                    <a:r>
                      <a:t>22.63</a:t>
                    </a:r>
                  </a:p>
                </c:rich>
              </c:tx>
              <c:dLblPos val="t"/>
              <c:showLegendKey val="0"/>
              <c:showVal val="1"/>
              <c:showCatName val="0"/>
              <c:showSerName val="0"/>
              <c:showPercent val="0"/>
              <c:showBubbleSize val="0"/>
            </c:dLbl>
            <c:dLbl>
              <c:idx val="14"/>
              <c:tx>
                <c:rich>
                  <a:bodyPr/>
                  <a:lstStyle/>
                  <a:p>
                    <a:r>
                      <a:t>16.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SCHICK XTREME 3 SENSITIVE GREEN HOLIDAY GIFT PACK 3 BLADE DISPOSABLE SENSITIVE 8CT</c:v>
                </c:pt>
                <c:pt idx="8">
                  <c:v>SCHICK XTREME 3 SENSITIVE GREEN BLACK 3 BLADE DISPOSABLE SENSITIVE 4CT</c:v>
                </c:pt>
                <c:pt idx="9">
                  <c:v>SCHICK XTREME 3 FACE AND BODY 3 BLADE DISPOSABLE NORMAL 4CT</c:v>
                </c:pt>
                <c:pt idx="10">
                  <c:v>SCHICK XTREME 4 OUTLAST 4 BLADE DISPOSABLE NORMAL 3CT</c:v>
                </c:pt>
                <c:pt idx="11">
                  <c:v>SCHICK XTREME 3 SENSITIVE GREEN BLACK 3 BLADE DISPOSABLE SENSITIVE 8CT</c:v>
                </c:pt>
                <c:pt idx="12">
                  <c:v>SCHICK XTREME 3 DUO COMFORT 3 BLADE DISPOSABLE NORMAL 4CT</c:v>
                </c:pt>
                <c:pt idx="13">
                  <c:v>SCHICK XTREME 3 SENSITIVE BLACK 3 BLADE DISPOSABLE SENSITIVE 20CT</c:v>
                </c:pt>
                <c:pt idx="14">
                  <c:v>SCHICK XTREME 3 SENSITIVE GREEN BLACK 3 BLADE DISPOSABLE SENSITIVE 12CT</c:v>
                </c:pt>
              </c:strCache>
            </c:strRef>
          </c:cat>
          <c:val>
            <c:numRef>
              <c:f>Sheet1!$B$2:$B$16</c:f>
              <c:numCache>
                <c:formatCode>General</c:formatCode>
                <c:ptCount val="15"/>
                <c:pt idx="0">
                  <c:v>7.19</c:v>
                </c:pt>
                <c:pt idx="1">
                  <c:v>7.21</c:v>
                </c:pt>
                <c:pt idx="2">
                  <c:v>11.82</c:v>
                </c:pt>
                <c:pt idx="3">
                  <c:v>20.21</c:v>
                </c:pt>
                <c:pt idx="4">
                  <c:v>15.09</c:v>
                </c:pt>
                <c:pt idx="5">
                  <c:v>11.22</c:v>
                </c:pt>
                <c:pt idx="6">
                  <c:v>14.86</c:v>
                </c:pt>
                <c:pt idx="7">
                  <c:v>10.0</c:v>
                </c:pt>
                <c:pt idx="8">
                  <c:v>9.2</c:v>
                </c:pt>
                <c:pt idx="9">
                  <c:v>9.65</c:v>
                </c:pt>
                <c:pt idx="10">
                  <c:v>8.66</c:v>
                </c:pt>
                <c:pt idx="11">
                  <c:v>16.67</c:v>
                </c:pt>
                <c:pt idx="12">
                  <c:v>9.13</c:v>
                </c:pt>
                <c:pt idx="13">
                  <c:v>22.63</c:v>
                </c:pt>
                <c:pt idx="14">
                  <c:v>1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2</a:t>
                    </a:r>
                  </a:p>
                </c:rich>
              </c:tx>
              <c:dLblPos val="t"/>
              <c:showLegendKey val="0"/>
              <c:showVal val="1"/>
              <c:showCatName val="0"/>
              <c:showSerName val="0"/>
              <c:showPercent val="0"/>
              <c:showBubbleSize val="0"/>
            </c:dLbl>
            <c:dLbl>
              <c:idx val="1"/>
              <c:tx>
                <c:rich>
                  <a:bodyPr/>
                  <a:lstStyle/>
                  <a:p>
                    <a:r>
                      <a:t>22.86</a:t>
                    </a:r>
                  </a:p>
                </c:rich>
              </c:tx>
              <c:dLblPos val="t"/>
              <c:showLegendKey val="0"/>
              <c:showVal val="1"/>
              <c:showCatName val="0"/>
              <c:showSerName val="0"/>
              <c:showPercent val="0"/>
              <c:showBubbleSize val="0"/>
            </c:dLbl>
            <c:dLbl>
              <c:idx val="2"/>
              <c:tx>
                <c:rich>
                  <a:bodyPr/>
                  <a:lstStyle/>
                  <a:p>
                    <a:r>
                      <a:t>25.21</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2</c:v>
                </c:pt>
                <c:pt idx="1">
                  <c:v>22.86</c:v>
                </c:pt>
                <c:pt idx="2">
                  <c:v>25.21</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2</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B$2:$B$9</c:f>
              <c:numCache>
                <c:formatCode>General</c:formatCode>
                <c:ptCount val="8"/>
                <c:pt idx="0">
                  <c:v>6.5</c:v>
                </c:pt>
                <c:pt idx="1">
                  <c:v>11.01</c:v>
                </c:pt>
                <c:pt idx="2">
                  <c:v>6.5</c:v>
                </c:pt>
                <c:pt idx="3">
                  <c:v>15.03</c:v>
                </c:pt>
                <c:pt idx="4">
                  <c:v>10.0</c:v>
                </c:pt>
                <c:pt idx="5">
                  <c:v>11.02</c:v>
                </c:pt>
                <c:pt idx="6">
                  <c:v>6.53</c:v>
                </c:pt>
                <c:pt idx="7">
                  <c:v>1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2</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8</a:t>
                    </a:r>
                  </a:p>
                </c:rich>
              </c:tx>
              <c:dLblPos val="t"/>
              <c:showLegendKey val="0"/>
              <c:showVal val="1"/>
              <c:showCatName val="0"/>
              <c:showSerName val="0"/>
              <c:showPercent val="0"/>
              <c:showBubbleSize val="0"/>
            </c:dLbl>
            <c:dLbl>
              <c:idx val="9"/>
              <c:tx>
                <c:rich>
                  <a:bodyPr/>
                  <a:lstStyle/>
                  <a:p>
                    <a:r>
                      <a:t>15.11</a:t>
                    </a:r>
                  </a:p>
                </c:rich>
              </c:tx>
              <c:dLblPos val="t"/>
              <c:showLegendKey val="0"/>
              <c:showVal val="1"/>
              <c:showCatName val="0"/>
              <c:showSerName val="0"/>
              <c:showPercent val="0"/>
              <c:showBubbleSize val="0"/>
            </c:dLbl>
            <c:dLbl>
              <c:idx val="10"/>
              <c:tx>
                <c:rich>
                  <a:bodyPr/>
                  <a:lstStyle/>
                  <a:p>
                    <a:r>
                      <a:t>15.22</a:t>
                    </a:r>
                  </a:p>
                </c:rich>
              </c:tx>
              <c:dLblPos val="t"/>
              <c:showLegendKey val="0"/>
              <c:showVal val="1"/>
              <c:showCatName val="0"/>
              <c:showSerName val="0"/>
              <c:showPercent val="0"/>
              <c:showBubbleSize val="0"/>
            </c:dLbl>
            <c:dLbl>
              <c:idx val="11"/>
              <c:tx>
                <c:rich>
                  <a:bodyPr/>
                  <a:lstStyle/>
                  <a:p>
                    <a:r>
                      <a:t>10.59</a:t>
                    </a:r>
                  </a:p>
                </c:rich>
              </c:tx>
              <c:dLblPos val="t"/>
              <c:showLegendKey val="0"/>
              <c:showVal val="1"/>
              <c:showCatName val="0"/>
              <c:showSerName val="0"/>
              <c:showPercent val="0"/>
              <c:showBubbleSize val="0"/>
            </c:dLbl>
            <c:dLbl>
              <c:idx val="12"/>
              <c:tx>
                <c:rich>
                  <a:bodyPr/>
                  <a:lstStyle/>
                  <a:p>
                    <a:r>
                      <a:t>26.91</a:t>
                    </a:r>
                  </a:p>
                </c:rich>
              </c:tx>
              <c:dLblPos val="t"/>
              <c:showLegendKey val="0"/>
              <c:showVal val="1"/>
              <c:showCatName val="0"/>
              <c:showSerName val="0"/>
              <c:showPercent val="0"/>
              <c:showBubbleSize val="0"/>
            </c:dLbl>
            <c:dLbl>
              <c:idx val="13"/>
              <c:tx>
                <c:rich>
                  <a:bodyPr/>
                  <a:lstStyle/>
                  <a:p>
                    <a:r>
                      <a:t>16.88</a:t>
                    </a:r>
                  </a:p>
                </c:rich>
              </c:tx>
              <c:dLblPos val="t"/>
              <c:showLegendKey val="0"/>
              <c:showVal val="1"/>
              <c:showCatName val="0"/>
              <c:showSerName val="0"/>
              <c:showPercent val="0"/>
              <c:showBubbleSize val="0"/>
            </c:dLbl>
            <c:dLbl>
              <c:idx val="14"/>
              <c:tx>
                <c:rich>
                  <a:bodyPr/>
                  <a:lstStyle/>
                  <a:p>
                    <a:r>
                      <a:t>13.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HYDRO 5 SENSITIVE 5 BLADE REFILL SENSITIVE 6CT</c:v>
                </c:pt>
                <c:pt idx="11">
                  <c:v>HYDRO 5 SENSITIVE 5 BLADE RAZOR SENSITIVE 3CT</c:v>
                </c:pt>
                <c:pt idx="12">
                  <c:v>HYDRO 5 SENSITIVE 5 BLADE REFILL SENSITIVE 12CT</c:v>
                </c:pt>
                <c:pt idx="13">
                  <c:v>HYDRO 5 DRY SKIN 5 BLADE REFILL DRY 6CT</c:v>
                </c:pt>
                <c:pt idx="14">
                  <c:v>SCHICK QUATTRO FOR MEN 4 BLADE REFILL NORMAL 8CT</c:v>
                </c:pt>
              </c:strCache>
            </c:strRef>
          </c:cat>
          <c:val>
            <c:numRef>
              <c:f>Sheet1!$B$2:$B$16</c:f>
              <c:numCache>
                <c:formatCode>General</c:formatCode>
                <c:ptCount val="15"/>
                <c:pt idx="0">
                  <c:v>20.09</c:v>
                </c:pt>
                <c:pt idx="1">
                  <c:v>7.29</c:v>
                </c:pt>
                <c:pt idx="2">
                  <c:v>7.27</c:v>
                </c:pt>
                <c:pt idx="3">
                  <c:v>11.92</c:v>
                </c:pt>
                <c:pt idx="4">
                  <c:v>9.2</c:v>
                </c:pt>
                <c:pt idx="5">
                  <c:v>16.66</c:v>
                </c:pt>
                <c:pt idx="6">
                  <c:v>16.0</c:v>
                </c:pt>
                <c:pt idx="7">
                  <c:v>11.19</c:v>
                </c:pt>
                <c:pt idx="8">
                  <c:v>15.18</c:v>
                </c:pt>
                <c:pt idx="9">
                  <c:v>15.11</c:v>
                </c:pt>
                <c:pt idx="10">
                  <c:v>15.22</c:v>
                </c:pt>
                <c:pt idx="11">
                  <c:v>10.59</c:v>
                </c:pt>
                <c:pt idx="12">
                  <c:v>26.91</c:v>
                </c:pt>
                <c:pt idx="13">
                  <c:v>16.88</c:v>
                </c:pt>
                <c:pt idx="14">
                  <c:v>13.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4.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4.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2</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49</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14.73</a:t>
                    </a:r>
                  </a:p>
                </c:rich>
              </c:tx>
              <c:dLblPos val="t"/>
              <c:showLegendKey val="0"/>
              <c:showVal val="1"/>
              <c:showCatName val="0"/>
              <c:showSerName val="0"/>
              <c:showPercent val="0"/>
              <c:showBubbleSize val="0"/>
            </c:dLbl>
            <c:dLbl>
              <c:idx val="8"/>
              <c:tx>
                <c:rich>
                  <a:bodyPr/>
                  <a:lstStyle/>
                  <a:p>
                    <a:r>
                      <a:t>9.96</a:t>
                    </a:r>
                  </a:p>
                </c:rich>
              </c:tx>
              <c:dLblPos val="t"/>
              <c:showLegendKey val="0"/>
              <c:showVal val="1"/>
              <c:showCatName val="0"/>
              <c:showSerName val="0"/>
              <c:showPercent val="0"/>
              <c:showBubbleSize val="0"/>
            </c:dLbl>
            <c:dLbl>
              <c:idx val="9"/>
              <c:tx>
                <c:rich>
                  <a:bodyPr/>
                  <a:lstStyle/>
                  <a:p>
                    <a:r>
                      <a:t>26.51</a:t>
                    </a:r>
                  </a:p>
                </c:rich>
              </c:tx>
              <c:dLblPos val="t"/>
              <c:showLegendKey val="0"/>
              <c:showVal val="1"/>
              <c:showCatName val="0"/>
              <c:showSerName val="0"/>
              <c:showPercent val="0"/>
              <c:showBubbleSize val="0"/>
            </c:dLbl>
            <c:dLbl>
              <c:idx val="10"/>
              <c:tx>
                <c:rich>
                  <a:bodyPr/>
                  <a:lstStyle/>
                  <a:p>
                    <a:r>
                      <a:t>16.85</a:t>
                    </a:r>
                  </a:p>
                </c:rich>
              </c:tx>
              <c:dLblPos val="t"/>
              <c:showLegendKey val="0"/>
              <c:showVal val="1"/>
              <c:showCatName val="0"/>
              <c:showSerName val="0"/>
              <c:showPercent val="0"/>
              <c:showBubbleSize val="0"/>
            </c:dLbl>
            <c:dLbl>
              <c:idx val="11"/>
              <c:tx>
                <c:rich>
                  <a:bodyPr/>
                  <a:lstStyle/>
                  <a:p>
                    <a:r>
                      <a:t>14.99</a:t>
                    </a:r>
                  </a:p>
                </c:rich>
              </c:tx>
              <c:dLblPos val="t"/>
              <c:showLegendKey val="0"/>
              <c:showVal val="1"/>
              <c:showCatName val="0"/>
              <c:showSerName val="0"/>
              <c:showPercent val="0"/>
              <c:showBubbleSize val="0"/>
            </c:dLbl>
            <c:dLbl>
              <c:idx val="12"/>
              <c:tx>
                <c:rich>
                  <a:bodyPr/>
                  <a:lstStyle/>
                  <a:p>
                    <a:r>
                      <a:t>9.53</a:t>
                    </a:r>
                  </a:p>
                </c:rich>
              </c:tx>
              <c:dLblPos val="t"/>
              <c:showLegendKey val="0"/>
              <c:showVal val="1"/>
              <c:showCatName val="0"/>
              <c:showSerName val="0"/>
              <c:showPercent val="0"/>
              <c:showBubbleSize val="0"/>
            </c:dLbl>
            <c:dLbl>
              <c:idx val="13"/>
              <c:tx>
                <c:rich>
                  <a:bodyPr/>
                  <a:lstStyle/>
                  <a:p>
                    <a:r>
                      <a:t>9.99</a:t>
                    </a:r>
                  </a:p>
                </c:rich>
              </c:tx>
              <c:dLblPos val="t"/>
              <c:showLegendKey val="0"/>
              <c:showVal val="1"/>
              <c:showCatName val="0"/>
              <c:showSerName val="0"/>
              <c:showPercent val="0"/>
              <c:showBubbleSize val="0"/>
            </c:dLbl>
            <c:dLbl>
              <c:idx val="14"/>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HYDRO 5 SENSITIVE 5 BLADE REFILL SENSITIVE 6CT</c:v>
                </c:pt>
                <c:pt idx="8">
                  <c:v>HYDRO 5 SENSITIVE 5 BLADE RAZOR SENSITIVE 3CT</c:v>
                </c:pt>
                <c:pt idx="9">
                  <c:v>HYDRO 5 SENSITIVE 5 BLADE REFILL SENSITIVE 12CT</c:v>
                </c:pt>
                <c:pt idx="10">
                  <c:v>CREMO 5 BLADE RAZOR NORMAL 2CT</c:v>
                </c:pt>
                <c:pt idx="11">
                  <c:v>CREMO 5 BLADE REFILL NORMAL 4CT</c:v>
                </c:pt>
                <c:pt idx="12">
                  <c:v>SCHICK HYDRO 3 SENSITIVE 3 BLADE REFILL SENSITIVE 5CT</c:v>
                </c:pt>
                <c:pt idx="13">
                  <c:v>HYDRO 5 SENSITIVE GRAY HOLIDAY GIFT PACK 5 BLADE RAZOR SENSITIVE 3CT</c:v>
                </c:pt>
                <c:pt idx="14">
                  <c:v>SCHICK HYDRO 3 SENSITIVE 3 BLADE RAZOR SENSITIVE 4CT</c:v>
                </c:pt>
              </c:strCache>
            </c:strRef>
          </c:cat>
          <c:val>
            <c:numRef>
              <c:f>Sheet1!$B$2:$B$16</c:f>
              <c:numCache>
                <c:formatCode>General</c:formatCode>
                <c:ptCount val="15"/>
                <c:pt idx="0">
                  <c:v>6.5</c:v>
                </c:pt>
                <c:pt idx="1">
                  <c:v>11.02</c:v>
                </c:pt>
                <c:pt idx="2">
                  <c:v>11.02</c:v>
                </c:pt>
                <c:pt idx="3">
                  <c:v>6.53</c:v>
                </c:pt>
                <c:pt idx="4">
                  <c:v>15.1</c:v>
                </c:pt>
                <c:pt idx="5">
                  <c:v>6.49</c:v>
                </c:pt>
                <c:pt idx="6">
                  <c:v>15.04</c:v>
                </c:pt>
                <c:pt idx="7">
                  <c:v>14.73</c:v>
                </c:pt>
                <c:pt idx="8">
                  <c:v>9.96</c:v>
                </c:pt>
                <c:pt idx="9">
                  <c:v>26.51</c:v>
                </c:pt>
                <c:pt idx="10">
                  <c:v>16.85</c:v>
                </c:pt>
                <c:pt idx="11">
                  <c:v>14.99</c:v>
                </c:pt>
                <c:pt idx="12">
                  <c:v>9.53</c:v>
                </c:pt>
                <c:pt idx="13">
                  <c:v>9.99</c:v>
                </c:pt>
                <c:pt idx="14">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2</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2</a:t>
                    </a:r>
                  </a:p>
                </c:rich>
              </c:tx>
              <c:dLblPos val="t"/>
              <c:showLegendKey val="0"/>
              <c:showVal val="1"/>
              <c:showCatName val="0"/>
              <c:showSerName val="0"/>
              <c:showPercent val="0"/>
              <c:showBubbleSize val="0"/>
            </c:dLbl>
            <c:dLbl>
              <c:idx val="6"/>
              <c:tx>
                <c:rich>
                  <a:bodyPr/>
                  <a:lstStyle/>
                  <a:p>
                    <a:r>
                      <a:t>14.86</a:t>
                    </a:r>
                  </a:p>
                </c:rich>
              </c:tx>
              <c:dLblPos val="t"/>
              <c:showLegendKey val="0"/>
              <c:showVal val="1"/>
              <c:showCatName val="0"/>
              <c:showSerName val="0"/>
              <c:showPercent val="0"/>
              <c:showBubbleSize val="0"/>
            </c:dLbl>
            <c:dLbl>
              <c:idx val="7"/>
              <c:tx>
                <c:rich>
                  <a:bodyPr/>
                  <a:lstStyle/>
                  <a:p>
                    <a:r>
                      <a:t>15.58</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27.56</a:t>
                    </a:r>
                  </a:p>
                </c:rich>
              </c:tx>
              <c:dLblPos val="t"/>
              <c:showLegendKey val="0"/>
              <c:showVal val="1"/>
              <c:showCatName val="0"/>
              <c:showSerName val="0"/>
              <c:showPercent val="0"/>
              <c:showBubbleSize val="0"/>
            </c:dLbl>
            <c:dLbl>
              <c:idx val="10"/>
              <c:tx>
                <c:rich>
                  <a:bodyPr/>
                  <a:lstStyle/>
                  <a:p>
                    <a:r>
                      <a:t>11.69</a:t>
                    </a:r>
                  </a:p>
                </c:rich>
              </c:tx>
              <c:dLblPos val="t"/>
              <c:showLegendKey val="0"/>
              <c:showVal val="1"/>
              <c:showCatName val="0"/>
              <c:showSerName val="0"/>
              <c:showPercent val="0"/>
              <c:showBubbleSize val="0"/>
            </c:dLbl>
            <c:dLbl>
              <c:idx val="11"/>
              <c:tx>
                <c:rich>
                  <a:bodyPr/>
                  <a:lstStyle/>
                  <a:p>
                    <a:r>
                      <a:t>17.52</a:t>
                    </a:r>
                  </a:p>
                </c:rich>
              </c:tx>
              <c:dLblPos val="t"/>
              <c:showLegendKey val="0"/>
              <c:showVal val="1"/>
              <c:showCatName val="0"/>
              <c:showSerName val="0"/>
              <c:showPercent val="0"/>
              <c:showBubbleSize val="0"/>
            </c:dLbl>
            <c:dLbl>
              <c:idx val="12"/>
              <c:tx>
                <c:rich>
                  <a:bodyPr/>
                  <a:lstStyle/>
                  <a:p>
                    <a:r>
                      <a:t>14.1</a:t>
                    </a:r>
                  </a:p>
                </c:rich>
              </c:tx>
              <c:dLblPos val="t"/>
              <c:showLegendKey val="0"/>
              <c:showVal val="1"/>
              <c:showCatName val="0"/>
              <c:showSerName val="0"/>
              <c:showPercent val="0"/>
              <c:showBubbleSize val="0"/>
            </c:dLbl>
            <c:dLbl>
              <c:idx val="13"/>
              <c:tx>
                <c:rich>
                  <a:bodyPr/>
                  <a:lstStyle/>
                  <a:p>
                    <a:r>
                      <a:t>12.29</a:t>
                    </a:r>
                  </a:p>
                </c:rich>
              </c:tx>
              <c:dLblPos val="t"/>
              <c:showLegendKey val="0"/>
              <c:showVal val="1"/>
              <c:showCatName val="0"/>
              <c:showSerName val="0"/>
              <c:showPercent val="0"/>
              <c:showBubbleSize val="0"/>
            </c:dLbl>
            <c:dLbl>
              <c:idx val="14"/>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HYDRO 5 SENSITIVE 5 BLADE REFILL SENSITIVE 6CT</c:v>
                </c:pt>
                <c:pt idx="8">
                  <c:v>HYDRO 5 SENSITIVE 5 BLADE RAZOR SENSITIVE 3CT</c:v>
                </c:pt>
                <c:pt idx="9">
                  <c:v>HYDRO 5 SENSITIVE 5 BLADE REFILL SENSITIVE 12CT</c:v>
                </c:pt>
                <c:pt idx="10">
                  <c:v>HYDRO 5 DRY SKIN 5 BLADE RAZOR DRY 3CT</c:v>
                </c:pt>
                <c:pt idx="11">
                  <c:v>HYDRO 5 DRY SKIN 5 BLADE REFILL DRY 6CT</c:v>
                </c:pt>
                <c:pt idx="12">
                  <c:v>SCHICK QUATTRO FOR MEN 4 BLADE REFILL NORMAL 8CT</c:v>
                </c:pt>
                <c:pt idx="13">
                  <c:v>SCHICK QUATTRO FOR MEN 4 BLADE RAZOR NORMAL 4CT</c:v>
                </c:pt>
                <c:pt idx="14">
                  <c:v>HYDRO 5 SENSITIVE GRAY HOLIDAY GIFT PACK 5 BLADE RAZOR SENSITIVE 3CT</c:v>
                </c:pt>
              </c:strCache>
            </c:strRef>
          </c:cat>
          <c:val>
            <c:numRef>
              <c:f>Sheet1!$B$2:$B$16</c:f>
              <c:numCache>
                <c:formatCode>General</c:formatCode>
                <c:ptCount val="15"/>
                <c:pt idx="0">
                  <c:v>7.19</c:v>
                </c:pt>
                <c:pt idx="1">
                  <c:v>7.21</c:v>
                </c:pt>
                <c:pt idx="2">
                  <c:v>11.82</c:v>
                </c:pt>
                <c:pt idx="3">
                  <c:v>20.21</c:v>
                </c:pt>
                <c:pt idx="4">
                  <c:v>15.09</c:v>
                </c:pt>
                <c:pt idx="5">
                  <c:v>11.22</c:v>
                </c:pt>
                <c:pt idx="6">
                  <c:v>14.86</c:v>
                </c:pt>
                <c:pt idx="7">
                  <c:v>15.58</c:v>
                </c:pt>
                <c:pt idx="8">
                  <c:v>10.58</c:v>
                </c:pt>
                <c:pt idx="9">
                  <c:v>27.56</c:v>
                </c:pt>
                <c:pt idx="10">
                  <c:v>11.69</c:v>
                </c:pt>
                <c:pt idx="11">
                  <c:v>17.52</c:v>
                </c:pt>
                <c:pt idx="12">
                  <c:v>14.1</c:v>
                </c:pt>
                <c:pt idx="13">
                  <c:v>12.29</c:v>
                </c:pt>
                <c:pt idx="14">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2</a:t>
                    </a:r>
                  </a:p>
                </c:rich>
              </c:tx>
              <c:dLblPos val="t"/>
              <c:showLegendKey val="0"/>
              <c:showVal val="1"/>
              <c:showCatName val="0"/>
              <c:showSerName val="0"/>
              <c:showPercent val="0"/>
              <c:showBubbleSize val="0"/>
            </c:dLbl>
            <c:dLbl>
              <c:idx val="1"/>
              <c:tx>
                <c:rich>
                  <a:bodyPr/>
                  <a:lstStyle/>
                  <a:p>
                    <a:r>
                      <a:t>22.86</a:t>
                    </a:r>
                  </a:p>
                </c:rich>
              </c:tx>
              <c:dLblPos val="t"/>
              <c:showLegendKey val="0"/>
              <c:showVal val="1"/>
              <c:showCatName val="0"/>
              <c:showSerName val="0"/>
              <c:showPercent val="0"/>
              <c:showBubbleSize val="0"/>
            </c:dLbl>
            <c:dLbl>
              <c:idx val="2"/>
              <c:tx>
                <c:rich>
                  <a:bodyPr/>
                  <a:lstStyle/>
                  <a:p>
                    <a:r>
                      <a:t>25.21</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2</c:v>
                </c:pt>
                <c:pt idx="1">
                  <c:v>22.86</c:v>
                </c:pt>
                <c:pt idx="2">
                  <c:v>25.21</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4.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4.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2</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dLbl>
              <c:idx val="8"/>
              <c:tx>
                <c:rich>
                  <a:bodyPr/>
                  <a:lstStyle/>
                  <a:p>
                    <a:r>
                      <a:t>14.91</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26.97</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9.97</a:t>
                    </a:r>
                  </a:p>
                </c:rich>
              </c:tx>
              <c:dLblPos val="t"/>
              <c:showLegendKey val="0"/>
              <c:showVal val="1"/>
              <c:showCatName val="0"/>
              <c:showSerName val="0"/>
              <c:showPercent val="0"/>
              <c:showBubbleSize val="0"/>
            </c:dLbl>
            <c:dLbl>
              <c:idx val="13"/>
              <c:tx>
                <c:rich>
                  <a:bodyPr/>
                  <a:lstStyle/>
                  <a:p>
                    <a:r>
                      <a:t>9.92</a:t>
                    </a:r>
                  </a:p>
                </c:rich>
              </c:tx>
              <c:dLblPos val="t"/>
              <c:showLegendKey val="0"/>
              <c:showVal val="1"/>
              <c:showCatName val="0"/>
              <c:showSerName val="0"/>
              <c:showPercent val="0"/>
              <c:showBubbleSize val="0"/>
            </c:dLbl>
            <c:dLbl>
              <c:idx val="14"/>
              <c:tx>
                <c:rich>
                  <a:bodyPr/>
                  <a:lstStyle/>
                  <a:p>
                    <a:r>
                      <a:t>16.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pt idx="8">
                  <c:v>HYDRO 5 SENSITIVE 5 BLADE REFILL SENSITIVE 6CT</c:v>
                </c:pt>
                <c:pt idx="9">
                  <c:v>HYDRO 5 SENSITIVE 5 BLADE RAZOR SENSITIVE 3CT</c:v>
                </c:pt>
                <c:pt idx="10">
                  <c:v>HYDRO 5 SENSITIVE 5 BLADE REFILL SENSITIVE 12CT</c:v>
                </c:pt>
                <c:pt idx="11">
                  <c:v>HYDRO 5 SENSITIVE GRAY HOLIDAY GIFT PACK 5 BLADE RAZOR SENSITIVE 3CT</c:v>
                </c:pt>
                <c:pt idx="12">
                  <c:v>SCHICK HYDRO 3 SENSITIVE 3 BLADE RAZOR SENSITIVE 4CT</c:v>
                </c:pt>
                <c:pt idx="13">
                  <c:v>SCHICK HYDRO 3 SENSITIVE 3 BLADE REFILL SENSITIVE 5CT</c:v>
                </c:pt>
                <c:pt idx="14">
                  <c:v>CREMO 5 BLADE RAZOR NORMAL 2CT</c:v>
                </c:pt>
              </c:strCache>
            </c:strRef>
          </c:cat>
          <c:val>
            <c:numRef>
              <c:f>Sheet1!$B$2:$B$16</c:f>
              <c:numCache>
                <c:formatCode>General</c:formatCode>
                <c:ptCount val="15"/>
                <c:pt idx="0">
                  <c:v>6.5</c:v>
                </c:pt>
                <c:pt idx="1">
                  <c:v>11.01</c:v>
                </c:pt>
                <c:pt idx="2">
                  <c:v>6.5</c:v>
                </c:pt>
                <c:pt idx="3">
                  <c:v>15.03</c:v>
                </c:pt>
                <c:pt idx="4">
                  <c:v>10.0</c:v>
                </c:pt>
                <c:pt idx="5">
                  <c:v>11.02</c:v>
                </c:pt>
                <c:pt idx="6">
                  <c:v>6.53</c:v>
                </c:pt>
                <c:pt idx="7">
                  <c:v>15.1</c:v>
                </c:pt>
                <c:pt idx="8">
                  <c:v>14.91</c:v>
                </c:pt>
                <c:pt idx="9">
                  <c:v>9.96</c:v>
                </c:pt>
                <c:pt idx="10">
                  <c:v>26.97</c:v>
                </c:pt>
                <c:pt idx="11">
                  <c:v>10.0</c:v>
                </c:pt>
                <c:pt idx="12">
                  <c:v>9.97</c:v>
                </c:pt>
                <c:pt idx="13">
                  <c:v>9.92</c:v>
                </c:pt>
                <c:pt idx="14">
                  <c:v>16.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dLblPos val="t"/>
              <c:showLegendKey val="0"/>
              <c:showVal val="1"/>
              <c:showCatName val="0"/>
              <c:showSerName val="0"/>
              <c:showPercent val="0"/>
              <c:showBubbleSize val="0"/>
            </c:dLbl>
            <c:dLbl>
              <c:idx val="1"/>
              <c:tx>
                <c:rich>
                  <a:bodyPr/>
                  <a:lstStyle/>
                  <a:p>
                    <a:r>
                      <a:t>26.91</a:t>
                    </a:r>
                  </a:p>
                </c:rich>
              </c:tx>
              <c:dLblPos val="t"/>
              <c:showLegendKey val="0"/>
              <c:showVal val="1"/>
              <c:showCatName val="0"/>
              <c:showSerName val="0"/>
              <c:showPercent val="0"/>
              <c:showBubbleSize val="0"/>
            </c:dLbl>
            <c:dLbl>
              <c:idx val="2"/>
              <c:tx>
                <c:rich>
                  <a:bodyPr/>
                  <a:lstStyle/>
                  <a:p>
                    <a:r>
                      <a:t>16.88</a:t>
                    </a:r>
                  </a:p>
                </c:rich>
              </c:tx>
              <c:dLblPos val="t"/>
              <c:showLegendKey val="0"/>
              <c:showVal val="1"/>
              <c:showCatName val="0"/>
              <c:showSerName val="0"/>
              <c:showPercent val="0"/>
              <c:showBubbleSize val="0"/>
            </c:dLbl>
            <c:dLbl>
              <c:idx val="3"/>
              <c:tx>
                <c:rich>
                  <a:bodyPr/>
                  <a:lstStyle/>
                  <a:p>
                    <a:r>
                      <a:t>13.58</a:t>
                    </a:r>
                  </a:p>
                </c:rich>
              </c:tx>
              <c:dLblPos val="t"/>
              <c:showLegendKey val="0"/>
              <c:showVal val="1"/>
              <c:showCatName val="0"/>
              <c:showSerName val="0"/>
              <c:showPercent val="0"/>
              <c:showBubbleSize val="0"/>
            </c:dLbl>
            <c:dLbl>
              <c:idx val="4"/>
              <c:tx>
                <c:rich>
                  <a:bodyPr/>
                  <a:lstStyle/>
                  <a:p>
                    <a:r>
                      <a:t>23.94</a:t>
                    </a:r>
                  </a:p>
                </c:rich>
              </c:tx>
              <c:dLblPos val="t"/>
              <c:showLegendKey val="0"/>
              <c:showVal val="1"/>
              <c:showCatName val="0"/>
              <c:showSerName val="0"/>
              <c:showPercent val="0"/>
              <c:showBubbleSize val="0"/>
            </c:dLbl>
            <c:dLbl>
              <c:idx val="5"/>
              <c:tx>
                <c:rich>
                  <a:bodyPr/>
                  <a:lstStyle/>
                  <a:p>
                    <a:r>
                      <a:t>13.9</a:t>
                    </a:r>
                  </a:p>
                </c:rich>
              </c:tx>
              <c:dLblPos val="t"/>
              <c:showLegendKey val="0"/>
              <c:showVal val="1"/>
              <c:showCatName val="0"/>
              <c:showSerName val="0"/>
              <c:showPercent val="0"/>
              <c:showBubbleSize val="0"/>
            </c:dLbl>
            <c:dLbl>
              <c:idx val="6"/>
              <c:tx>
                <c:rich>
                  <a:bodyPr/>
                  <a:lstStyle/>
                  <a:p>
                    <a:r>
                      <a:t>12.68</a:t>
                    </a:r>
                  </a:p>
                </c:rich>
              </c:tx>
              <c:dLblPos val="t"/>
              <c:showLegendKey val="0"/>
              <c:showVal val="1"/>
              <c:showCatName val="0"/>
              <c:showSerName val="0"/>
              <c:showPercent val="0"/>
              <c:showBubbleSize val="0"/>
            </c:dLbl>
            <c:dLbl>
              <c:idx val="7"/>
              <c:tx>
                <c:rich>
                  <a:bodyPr/>
                  <a:lstStyle/>
                  <a:p>
                    <a:r>
                      <a:t>21.73</a:t>
                    </a:r>
                  </a:p>
                </c:rich>
              </c:tx>
              <c:dLblPos val="t"/>
              <c:showLegendKey val="0"/>
              <c:showVal val="1"/>
              <c:showCatName val="0"/>
              <c:showSerName val="0"/>
              <c:showPercent val="0"/>
              <c:showBubbleSize val="0"/>
            </c:dLbl>
            <c:dLbl>
              <c:idx val="8"/>
              <c:tx>
                <c:rich>
                  <a:bodyPr/>
                  <a:lstStyle/>
                  <a:p>
                    <a:r>
                      <a:t>10.59</a:t>
                    </a:r>
                  </a:p>
                </c:rich>
              </c:tx>
              <c:dLblPos val="t"/>
              <c:showLegendKey val="0"/>
              <c:showVal val="1"/>
              <c:showCatName val="0"/>
              <c:showSerName val="0"/>
              <c:showPercent val="0"/>
              <c:showBubbleSize val="0"/>
            </c:dLbl>
            <c:dLbl>
              <c:idx val="9"/>
              <c:tx>
                <c:rich>
                  <a:bodyPr/>
                  <a:lstStyle/>
                  <a:p>
                    <a:r>
                      <a:t>11.67</a:t>
                    </a:r>
                  </a:p>
                </c:rich>
              </c:tx>
              <c:dLblPos val="t"/>
              <c:showLegendKey val="0"/>
              <c:showVal val="1"/>
              <c:showCatName val="0"/>
              <c:showSerName val="0"/>
              <c:showPercent val="0"/>
              <c:showBubbleSize val="0"/>
            </c:dLbl>
            <c:dLbl>
              <c:idx val="10"/>
              <c:tx>
                <c:rich>
                  <a:bodyPr/>
                  <a:lstStyle/>
                  <a:p>
                    <a:r>
                      <a:t>38.77</a:t>
                    </a:r>
                  </a:p>
                </c:rich>
              </c:tx>
              <c:dLblPos val="t"/>
              <c:showLegendKey val="0"/>
              <c:showVal val="1"/>
              <c:showCatName val="0"/>
              <c:showSerName val="0"/>
              <c:showPercent val="0"/>
              <c:showBubbleSize val="0"/>
            </c:dLbl>
            <c:dLbl>
              <c:idx val="11"/>
              <c:tx>
                <c:rich>
                  <a:bodyPr/>
                  <a:lstStyle/>
                  <a:p>
                    <a:r>
                      <a:t>12.0</a:t>
                    </a:r>
                  </a:p>
                </c:rich>
              </c:tx>
              <c:dLblPos val="t"/>
              <c:showLegendKey val="0"/>
              <c:showVal val="1"/>
              <c:showCatName val="0"/>
              <c:showSerName val="0"/>
              <c:showPercent val="0"/>
              <c:showBubbleSize val="0"/>
            </c:dLbl>
            <c:dLbl>
              <c:idx val="12"/>
              <c:tx>
                <c:rich>
                  <a:bodyPr/>
                  <a:lstStyle/>
                  <a:p>
                    <a:r>
                      <a:t>12.71</a:t>
                    </a:r>
                  </a:p>
                </c:rich>
              </c:tx>
              <c:dLblPos val="t"/>
              <c:showLegendKey val="0"/>
              <c:showVal val="1"/>
              <c:showCatName val="0"/>
              <c:showSerName val="0"/>
              <c:showPercent val="0"/>
              <c:showBubbleSize val="0"/>
            </c:dLbl>
            <c:dLbl>
              <c:idx val="13"/>
              <c:tx>
                <c:rich>
                  <a:bodyPr/>
                  <a:lstStyle/>
                  <a:p>
                    <a:r>
                      <a:t>15.52</a:t>
                    </a:r>
                  </a:p>
                </c:rich>
              </c:tx>
              <c:dLblPos val="t"/>
              <c:showLegendKey val="0"/>
              <c:showVal val="1"/>
              <c:showCatName val="0"/>
              <c:showSerName val="0"/>
              <c:showPercent val="0"/>
              <c:showBubbleSize val="0"/>
            </c:dLbl>
            <c:dLbl>
              <c:idx val="14"/>
              <c:tx>
                <c:rich>
                  <a:bodyPr/>
                  <a:lstStyle/>
                  <a:p>
                    <a:r>
                      <a:t>29.2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CREMO 5 BLADE REFILL NORMAL 4CT</c:v>
                </c:pt>
                <c:pt idx="6">
                  <c:v>SCHICK HYDRO 3 SENSITIVE 3 BLADE REFILL SENSITIVE 5CT</c:v>
                </c:pt>
                <c:pt idx="7">
                  <c:v>SCHICK HYDRO 3 SENSITIVE 3 BLADE REFILL SENSITIVE 12CT</c:v>
                </c:pt>
                <c:pt idx="8">
                  <c:v>HYDRO 5 SENSITIVE 5 BLADE RAZOR SENSITIVE 3CT</c:v>
                </c:pt>
                <c:pt idx="9">
                  <c:v>HYDRO 5 DRY SKIN 5 BLADE RAZOR DRY 3CT</c:v>
                </c:pt>
                <c:pt idx="10">
                  <c:v>HYDRO 5 SENSITIVE 5 BLADE RAZOR SENSITIVE 17CT</c:v>
                </c:pt>
                <c:pt idx="11">
                  <c:v>SCHICK QUATTRO FOR MEN 4 BLADE RAZOR NORMAL 4CT</c:v>
                </c:pt>
                <c:pt idx="12">
                  <c:v>SCHICK HYDRO 3 SENSITIVE 3 BLADE RAZOR SENSITIVE 4CT</c:v>
                </c:pt>
                <c:pt idx="13">
                  <c:v>CREMO 5 BLADE RAZOR NORMAL 2CT</c:v>
                </c:pt>
                <c:pt idx="14">
                  <c:v>SCHICK QUATTRO FOR MEN 4 BLADE RAZOR NORMAL 16CT</c:v>
                </c:pt>
              </c:strCache>
            </c:strRef>
          </c:cat>
          <c:val>
            <c:numRef>
              <c:f>Sheet1!$B$2:$B$16</c:f>
              <c:numCache>
                <c:formatCode>General</c:formatCode>
                <c:ptCount val="15"/>
                <c:pt idx="0">
                  <c:v>15.22</c:v>
                </c:pt>
                <c:pt idx="1">
                  <c:v>26.91</c:v>
                </c:pt>
                <c:pt idx="2">
                  <c:v>16.88</c:v>
                </c:pt>
                <c:pt idx="3">
                  <c:v>13.58</c:v>
                </c:pt>
                <c:pt idx="4">
                  <c:v>23.94</c:v>
                </c:pt>
                <c:pt idx="5">
                  <c:v>13.9</c:v>
                </c:pt>
                <c:pt idx="6">
                  <c:v>12.68</c:v>
                </c:pt>
                <c:pt idx="7">
                  <c:v>21.73</c:v>
                </c:pt>
                <c:pt idx="8">
                  <c:v>10.59</c:v>
                </c:pt>
                <c:pt idx="9">
                  <c:v>11.67</c:v>
                </c:pt>
                <c:pt idx="10">
                  <c:v>38.77</c:v>
                </c:pt>
                <c:pt idx="11">
                  <c:v>12.0</c:v>
                </c:pt>
                <c:pt idx="12">
                  <c:v>12.71</c:v>
                </c:pt>
                <c:pt idx="13">
                  <c:v>15.52</c:v>
                </c:pt>
                <c:pt idx="14">
                  <c:v>29.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dLblPos val="t"/>
              <c:showLegendKey val="0"/>
              <c:showVal val="1"/>
              <c:showCatName val="0"/>
              <c:showSerName val="0"/>
              <c:showPercent val="0"/>
              <c:showBubbleSize val="0"/>
            </c:dLbl>
            <c:dLbl>
              <c:idx val="1"/>
              <c:tx>
                <c:rich>
                  <a:bodyPr/>
                  <a:lstStyle/>
                  <a:p>
                    <a:r>
                      <a:t>26.51</a:t>
                    </a:r>
                  </a:p>
                </c:rich>
              </c:tx>
              <c:dLblPos val="t"/>
              <c:showLegendKey val="0"/>
              <c:showVal val="1"/>
              <c:showCatName val="0"/>
              <c:showSerName val="0"/>
              <c:showPercent val="0"/>
              <c:showBubbleSize val="0"/>
            </c:dLbl>
            <c:dLbl>
              <c:idx val="2"/>
              <c:tx>
                <c:rich>
                  <a:bodyPr/>
                  <a:lstStyle/>
                  <a:p>
                    <a:r>
                      <a:t>14.99</a:t>
                    </a:r>
                  </a:p>
                </c:rich>
              </c:tx>
              <c:dLblPos val="t"/>
              <c:showLegendKey val="0"/>
              <c:showVal val="1"/>
              <c:showCatName val="0"/>
              <c:showSerName val="0"/>
              <c:showPercent val="0"/>
              <c:showBubbleSize val="0"/>
            </c:dLbl>
            <c:dLbl>
              <c:idx val="3"/>
              <c:tx>
                <c:rich>
                  <a:bodyPr/>
                  <a:lstStyle/>
                  <a:p>
                    <a:r>
                      <a:t>9.53</a:t>
                    </a:r>
                  </a:p>
                </c:rich>
              </c:tx>
              <c:dLblPos val="t"/>
              <c:showLegendKey val="0"/>
              <c:showVal val="1"/>
              <c:showCatName val="0"/>
              <c:showSerName val="0"/>
              <c:showPercent val="0"/>
              <c:showBubbleSize val="0"/>
            </c:dLbl>
            <c:dLbl>
              <c:idx val="4"/>
              <c:tx>
                <c:rich>
                  <a:bodyPr/>
                  <a:lstStyle/>
                  <a:p>
                    <a:r>
                      <a:t>9.96</a:t>
                    </a:r>
                  </a:p>
                </c:rich>
              </c:tx>
              <c:dLblPos val="t"/>
              <c:showLegendKey val="0"/>
              <c:showVal val="1"/>
              <c:showCatName val="0"/>
              <c:showSerName val="0"/>
              <c:showPercent val="0"/>
              <c:showBubbleSize val="0"/>
            </c:dLbl>
            <c:dLbl>
              <c:idx val="5"/>
              <c:tx>
                <c:rich>
                  <a:bodyPr/>
                  <a:lstStyle/>
                  <a:p>
                    <a:r>
                      <a:t>16.85</a:t>
                    </a:r>
                  </a:p>
                </c:rich>
              </c:tx>
              <c:dLblPos val="t"/>
              <c:showLegendKey val="0"/>
              <c:showVal val="1"/>
              <c:showCatName val="0"/>
              <c:showSerName val="0"/>
              <c:showPercent val="0"/>
              <c:showBubbleSize val="0"/>
            </c:dLbl>
            <c:dLbl>
              <c:idx val="6"/>
              <c:tx>
                <c:rich>
                  <a:bodyPr/>
                  <a:lstStyle/>
                  <a:p>
                    <a:r>
                      <a:t>9.99</a:t>
                    </a:r>
                  </a:p>
                </c:rich>
              </c:tx>
              <c:dLblPos val="t"/>
              <c:showLegendKey val="0"/>
              <c:showVal val="1"/>
              <c:showCatName val="0"/>
              <c:showSerName val="0"/>
              <c:showPercent val="0"/>
              <c:showBubbleSize val="0"/>
            </c:dLbl>
            <c:dLbl>
              <c:idx val="7"/>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5 SENSITIVE 5 BLADE REFILL SENSITIVE 6CT</c:v>
                </c:pt>
                <c:pt idx="1">
                  <c:v>HYDRO 5 SENSITIVE 5 BLADE REFILL SENSITIVE 12CT</c:v>
                </c:pt>
                <c:pt idx="2">
                  <c:v>CREMO 5 BLADE REFILL NORMAL 4CT</c:v>
                </c:pt>
                <c:pt idx="3">
                  <c:v>SCHICK HYDRO 3 SENSITIVE 3 BLADE REFILL SENSITIVE 5CT</c:v>
                </c:pt>
                <c:pt idx="4">
                  <c:v>HYDRO 5 SENSITIVE 5 BLADE RAZOR SENSITIVE 3CT</c:v>
                </c:pt>
                <c:pt idx="5">
                  <c:v>CREMO 5 BLADE RAZOR NORMAL 2CT</c:v>
                </c:pt>
                <c:pt idx="6">
                  <c:v>HYDRO 5 SENSITIVE GRAY HOLIDAY GIFT PACK 5 BLADE RAZOR SENSITIVE 3CT</c:v>
                </c:pt>
                <c:pt idx="7">
                  <c:v>SCHICK HYDRO 3 SENSITIVE 3 BLADE RAZOR SENSITIVE 4CT</c:v>
                </c:pt>
              </c:strCache>
            </c:strRef>
          </c:cat>
          <c:val>
            <c:numRef>
              <c:f>Sheet1!$B$2:$B$9</c:f>
              <c:numCache>
                <c:formatCode>General</c:formatCode>
                <c:ptCount val="8"/>
                <c:pt idx="0">
                  <c:v>14.73</c:v>
                </c:pt>
                <c:pt idx="1">
                  <c:v>26.51</c:v>
                </c:pt>
                <c:pt idx="2">
                  <c:v>14.99</c:v>
                </c:pt>
                <c:pt idx="3">
                  <c:v>9.53</c:v>
                </c:pt>
                <c:pt idx="4">
                  <c:v>9.96</c:v>
                </c:pt>
                <c:pt idx="5">
                  <c:v>16.85</c:v>
                </c:pt>
                <c:pt idx="6">
                  <c:v>9.99</c:v>
                </c:pt>
                <c:pt idx="7">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2</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8</a:t>
                    </a:r>
                  </a:p>
                </c:rich>
              </c:tx>
              <c:dLblPos val="t"/>
              <c:showLegendKey val="0"/>
              <c:showVal val="1"/>
              <c:showCatName val="0"/>
              <c:showSerName val="0"/>
              <c:showPercent val="0"/>
              <c:showBubbleSize val="0"/>
            </c:dLbl>
            <c:dLbl>
              <c:idx val="9"/>
              <c:tx>
                <c:rich>
                  <a:bodyPr/>
                  <a:lstStyle/>
                  <a:p>
                    <a:r>
                      <a:t>15.11</a:t>
                    </a:r>
                  </a:p>
                </c:rich>
              </c:tx>
              <c:dLblPos val="t"/>
              <c:showLegendKey val="0"/>
              <c:showVal val="1"/>
              <c:showCatName val="0"/>
              <c:showSerName val="0"/>
              <c:showPercent val="0"/>
              <c:showBubbleSize val="0"/>
            </c:dLbl>
            <c:dLbl>
              <c:idx val="10"/>
              <c:tx>
                <c:rich>
                  <a:bodyPr/>
                  <a:lstStyle/>
                  <a:p>
                    <a:r>
                      <a:t>8.99</a:t>
                    </a:r>
                  </a:p>
                </c:rich>
              </c:tx>
              <c:dLblPos val="t"/>
              <c:showLegendKey val="0"/>
              <c:showVal val="1"/>
              <c:showCatName val="0"/>
              <c:showSerName val="0"/>
              <c:showPercent val="0"/>
              <c:showBubbleSize val="0"/>
            </c:dLbl>
            <c:dLbl>
              <c:idx val="11"/>
              <c:tx>
                <c:rich>
                  <a:bodyPr/>
                  <a:lstStyle/>
                  <a:p>
                    <a:r>
                      <a:t>9.46</a:t>
                    </a:r>
                  </a:p>
                </c:rich>
              </c:tx>
              <c:dLblPos val="t"/>
              <c:showLegendKey val="0"/>
              <c:showVal val="1"/>
              <c:showCatName val="0"/>
              <c:showSerName val="0"/>
              <c:showPercent val="0"/>
              <c:showBubbleSize val="0"/>
            </c:dLbl>
            <c:dLbl>
              <c:idx val="12"/>
              <c:tx>
                <c:rich>
                  <a:bodyPr/>
                  <a:lstStyle/>
                  <a:p>
                    <a:r>
                      <a:t>6.51</a:t>
                    </a:r>
                  </a:p>
                </c:rich>
              </c:tx>
              <c:dLblPos val="t"/>
              <c:showLegendKey val="0"/>
              <c:showVal val="1"/>
              <c:showCatName val="0"/>
              <c:showSerName val="0"/>
              <c:showPercent val="0"/>
              <c:showBubbleSize val="0"/>
            </c:dLbl>
            <c:dLbl>
              <c:idx val="13"/>
              <c:tx>
                <c:rich>
                  <a:bodyPr/>
                  <a:lstStyle/>
                  <a:p>
                    <a:r>
                      <a:t>2.6</a:t>
                    </a:r>
                  </a:p>
                </c:rich>
              </c:tx>
              <c:dLblPos val="t"/>
              <c:showLegendKey val="0"/>
              <c:showVal val="1"/>
              <c:showCatName val="0"/>
              <c:showSerName val="0"/>
              <c:showPercent val="0"/>
              <c:showBubbleSize val="0"/>
            </c:dLbl>
            <c:dLbl>
              <c:idx val="14"/>
              <c:tx>
                <c:rich>
                  <a:bodyPr/>
                  <a:lstStyle/>
                  <a:p>
                    <a:r>
                      <a:t>9.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SCHICK XTREME 4 OUTLAST 4 BLADE DISPOSABLE NORMAL 3CT</c:v>
                </c:pt>
                <c:pt idx="11">
                  <c:v>SCHICK XTREME 3 FACE AND BODY 3 BLADE DISPOSABLE NORMAL 4CT</c:v>
                </c:pt>
                <c:pt idx="12">
                  <c:v>SCHICK XTREME 5 BLACK GRAY 5 BLADE DISPOSABLE SENSITIVE 2CT</c:v>
                </c:pt>
                <c:pt idx="13">
                  <c:v>SCHICK XTREME 3 SENSITIVE 3 BLADE DISPOSABLE SENSITIVE 1CT</c:v>
                </c:pt>
                <c:pt idx="14">
                  <c:v>SCHICK XTREME 3 DUO COMFORT 3 BLADE DISPOSABLE NORMAL 4CT</c:v>
                </c:pt>
              </c:strCache>
            </c:strRef>
          </c:cat>
          <c:val>
            <c:numRef>
              <c:f>Sheet1!$B$2:$B$16</c:f>
              <c:numCache>
                <c:formatCode>General</c:formatCode>
                <c:ptCount val="15"/>
                <c:pt idx="0">
                  <c:v>20.09</c:v>
                </c:pt>
                <c:pt idx="1">
                  <c:v>7.29</c:v>
                </c:pt>
                <c:pt idx="2">
                  <c:v>7.27</c:v>
                </c:pt>
                <c:pt idx="3">
                  <c:v>11.92</c:v>
                </c:pt>
                <c:pt idx="4">
                  <c:v>9.2</c:v>
                </c:pt>
                <c:pt idx="5">
                  <c:v>16.66</c:v>
                </c:pt>
                <c:pt idx="6">
                  <c:v>16.0</c:v>
                </c:pt>
                <c:pt idx="7">
                  <c:v>11.19</c:v>
                </c:pt>
                <c:pt idx="8">
                  <c:v>15.18</c:v>
                </c:pt>
                <c:pt idx="9">
                  <c:v>15.11</c:v>
                </c:pt>
                <c:pt idx="10">
                  <c:v>8.99</c:v>
                </c:pt>
                <c:pt idx="11">
                  <c:v>9.46</c:v>
                </c:pt>
                <c:pt idx="12">
                  <c:v>6.51</c:v>
                </c:pt>
                <c:pt idx="13">
                  <c:v>2.6</c:v>
                </c:pt>
                <c:pt idx="14">
                  <c:v>9.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4.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4.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2</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49</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9.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SCHICK XTREME 3 SENSITIVE GREEN HOLIDAY GIFT PACK 3 BLADE DISPOSABLE SENSITIVE 8CT</c:v>
                </c:pt>
              </c:strCache>
            </c:strRef>
          </c:cat>
          <c:val>
            <c:numRef>
              <c:f>Sheet1!$B$2:$B$9</c:f>
              <c:numCache>
                <c:formatCode>General</c:formatCode>
                <c:ptCount val="8"/>
                <c:pt idx="0">
                  <c:v>6.5</c:v>
                </c:pt>
                <c:pt idx="1">
                  <c:v>11.02</c:v>
                </c:pt>
                <c:pt idx="2">
                  <c:v>11.02</c:v>
                </c:pt>
                <c:pt idx="3">
                  <c:v>6.53</c:v>
                </c:pt>
                <c:pt idx="4">
                  <c:v>15.1</c:v>
                </c:pt>
                <c:pt idx="5">
                  <c:v>6.49</c:v>
                </c:pt>
                <c:pt idx="6">
                  <c:v>15.04</c:v>
                </c:pt>
                <c:pt idx="7">
                  <c:v>9.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8</a:t>
                    </a:r>
                  </a:p>
                </c:rich>
              </c:tx>
              <c:dLblPos val="t"/>
              <c:showLegendKey val="0"/>
              <c:showVal val="1"/>
              <c:showCatName val="0"/>
              <c:showSerName val="0"/>
              <c:showPercent val="0"/>
              <c:showBubbleSize val="0"/>
            </c:dLbl>
            <c:dLbl>
              <c:idx val="1"/>
              <c:tx>
                <c:rich>
                  <a:bodyPr/>
                  <a:lstStyle/>
                  <a:p>
                    <a:r>
                      <a:t>27.56</a:t>
                    </a:r>
                  </a:p>
                </c:rich>
              </c:tx>
              <c:dLblPos val="t"/>
              <c:showLegendKey val="0"/>
              <c:showVal val="1"/>
              <c:showCatName val="0"/>
              <c:showSerName val="0"/>
              <c:showPercent val="0"/>
              <c:showBubbleSize val="0"/>
            </c:dLbl>
            <c:dLbl>
              <c:idx val="2"/>
              <c:tx>
                <c:rich>
                  <a:bodyPr/>
                  <a:lstStyle/>
                  <a:p>
                    <a:r>
                      <a:t>17.52</a:t>
                    </a:r>
                  </a:p>
                </c:rich>
              </c:tx>
              <c:dLblPos val="t"/>
              <c:showLegendKey val="0"/>
              <c:showVal val="1"/>
              <c:showCatName val="0"/>
              <c:showSerName val="0"/>
              <c:showPercent val="0"/>
              <c:showBubbleSize val="0"/>
            </c:dLbl>
            <c:dLbl>
              <c:idx val="3"/>
              <c:tx>
                <c:rich>
                  <a:bodyPr/>
                  <a:lstStyle/>
                  <a:p>
                    <a:r>
                      <a:t>14.1</a:t>
                    </a:r>
                  </a:p>
                </c:rich>
              </c:tx>
              <c:dLblPos val="t"/>
              <c:showLegendKey val="0"/>
              <c:showVal val="1"/>
              <c:showCatName val="0"/>
              <c:showSerName val="0"/>
              <c:showPercent val="0"/>
              <c:showBubbleSize val="0"/>
            </c:dLbl>
            <c:dLbl>
              <c:idx val="4"/>
              <c:tx>
                <c:rich>
                  <a:bodyPr/>
                  <a:lstStyle/>
                  <a:p>
                    <a:r>
                      <a:t>24.56</a:t>
                    </a:r>
                  </a:p>
                </c:rich>
              </c:tx>
              <c:dLblPos val="t"/>
              <c:showLegendKey val="0"/>
              <c:showVal val="1"/>
              <c:showCatName val="0"/>
              <c:showSerName val="0"/>
              <c:showPercent val="0"/>
              <c:showBubbleSize val="0"/>
            </c:dLbl>
            <c:dLbl>
              <c:idx val="5"/>
              <c:tx>
                <c:rich>
                  <a:bodyPr/>
                  <a:lstStyle/>
                  <a:p>
                    <a:r>
                      <a:t>13.8</a:t>
                    </a:r>
                  </a:p>
                </c:rich>
              </c:tx>
              <c:dLblPos val="t"/>
              <c:showLegendKey val="0"/>
              <c:showVal val="1"/>
              <c:showCatName val="0"/>
              <c:showSerName val="0"/>
              <c:showPercent val="0"/>
              <c:showBubbleSize val="0"/>
            </c:dLbl>
            <c:dLbl>
              <c:idx val="6"/>
              <c:tx>
                <c:rich>
                  <a:bodyPr/>
                  <a:lstStyle/>
                  <a:p>
                    <a:r>
                      <a:t>12.41</a:t>
                    </a:r>
                  </a:p>
                </c:rich>
              </c:tx>
              <c:dLblPos val="t"/>
              <c:showLegendKey val="0"/>
              <c:showVal val="1"/>
              <c:showCatName val="0"/>
              <c:showSerName val="0"/>
              <c:showPercent val="0"/>
              <c:showBubbleSize val="0"/>
            </c:dLbl>
            <c:dLbl>
              <c:idx val="7"/>
              <c:tx>
                <c:rich>
                  <a:bodyPr/>
                  <a:lstStyle/>
                  <a:p>
                    <a:r>
                      <a:t>22.17</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11.69</a:t>
                    </a:r>
                  </a:p>
                </c:rich>
              </c:tx>
              <c:dLblPos val="t"/>
              <c:showLegendKey val="0"/>
              <c:showVal val="1"/>
              <c:showCatName val="0"/>
              <c:showSerName val="0"/>
              <c:showPercent val="0"/>
              <c:showBubbleSize val="0"/>
            </c:dLbl>
            <c:dLbl>
              <c:idx val="10"/>
              <c:tx>
                <c:rich>
                  <a:bodyPr/>
                  <a:lstStyle/>
                  <a:p>
                    <a:r>
                      <a:t>12.29</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40.74</a:t>
                    </a:r>
                  </a:p>
                </c:rich>
              </c:tx>
              <c:dLblPos val="t"/>
              <c:showLegendKey val="0"/>
              <c:showVal val="1"/>
              <c:showCatName val="0"/>
              <c:showSerName val="0"/>
              <c:showPercent val="0"/>
              <c:showBubbleSize val="0"/>
            </c:dLbl>
            <c:dLbl>
              <c:idx val="13"/>
              <c:tx>
                <c:rich>
                  <a:bodyPr/>
                  <a:lstStyle/>
                  <a:p>
                    <a:r>
                      <a:t>12.27</a:t>
                    </a:r>
                  </a:p>
                </c:rich>
              </c:tx>
              <c:dLblPos val="t"/>
              <c:showLegendKey val="0"/>
              <c:showVal val="1"/>
              <c:showCatName val="0"/>
              <c:showSerName val="0"/>
              <c:showPercent val="0"/>
              <c:showBubbleSize val="0"/>
            </c:dLbl>
            <c:dLbl>
              <c:idx val="14"/>
              <c:tx>
                <c:rich>
                  <a:bodyPr/>
                  <a:lstStyle/>
                  <a:p>
                    <a:r>
                      <a:t>15.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CREMO 5 BLADE REFILL NORMAL 4CT</c:v>
                </c:pt>
                <c:pt idx="6">
                  <c:v>SCHICK HYDRO 3 SENSITIVE 3 BLADE REFILL SENSITIVE 5CT</c:v>
                </c:pt>
                <c:pt idx="7">
                  <c:v>SCHICK HYDRO 3 SENSITIVE 3 BLADE REFILL SENSITIVE 12CT</c:v>
                </c:pt>
                <c:pt idx="8">
                  <c:v>HYDRO 5 SENSITIVE 5 BLADE RAZOR SENSITIVE 3CT</c:v>
                </c:pt>
                <c:pt idx="9">
                  <c:v>HYDRO 5 DRY SKIN 5 BLADE RAZOR DRY 3CT</c:v>
                </c:pt>
                <c:pt idx="10">
                  <c:v>SCHICK QUATTRO FOR MEN 4 BLADE RAZOR NORMAL 4CT</c:v>
                </c:pt>
                <c:pt idx="11">
                  <c:v>HYDRO 5 SENSITIVE GRAY HOLIDAY GIFT PACK 5 BLADE RAZOR SENSITIVE 3CT</c:v>
                </c:pt>
                <c:pt idx="12">
                  <c:v>HYDRO 5 SENSITIVE 5 BLADE RAZOR SENSITIVE 17CT</c:v>
                </c:pt>
                <c:pt idx="13">
                  <c:v>SCHICK HYDRO 3 SENSITIVE 3 BLADE RAZOR SENSITIVE 4CT</c:v>
                </c:pt>
                <c:pt idx="14">
                  <c:v>CREMO 5 BLADE RAZOR NORMAL 2CT</c:v>
                </c:pt>
              </c:strCache>
            </c:strRef>
          </c:cat>
          <c:val>
            <c:numRef>
              <c:f>Sheet1!$B$2:$B$16</c:f>
              <c:numCache>
                <c:formatCode>General</c:formatCode>
                <c:ptCount val="15"/>
                <c:pt idx="0">
                  <c:v>15.58</c:v>
                </c:pt>
                <c:pt idx="1">
                  <c:v>27.56</c:v>
                </c:pt>
                <c:pt idx="2">
                  <c:v>17.52</c:v>
                </c:pt>
                <c:pt idx="3">
                  <c:v>14.1</c:v>
                </c:pt>
                <c:pt idx="4">
                  <c:v>24.56</c:v>
                </c:pt>
                <c:pt idx="5">
                  <c:v>13.8</c:v>
                </c:pt>
                <c:pt idx="6">
                  <c:v>12.41</c:v>
                </c:pt>
                <c:pt idx="7">
                  <c:v>22.17</c:v>
                </c:pt>
                <c:pt idx="8">
                  <c:v>10.58</c:v>
                </c:pt>
                <c:pt idx="9">
                  <c:v>11.69</c:v>
                </c:pt>
                <c:pt idx="10">
                  <c:v>12.29</c:v>
                </c:pt>
                <c:pt idx="11">
                  <c:v>10.0</c:v>
                </c:pt>
                <c:pt idx="12">
                  <c:v>40.74</c:v>
                </c:pt>
                <c:pt idx="13">
                  <c:v>12.27</c:v>
                </c:pt>
                <c:pt idx="14">
                  <c:v>15.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1</a:t>
                    </a:r>
                  </a:p>
                </c:rich>
              </c:tx>
              <c:dLblPos val="t"/>
              <c:showLegendKey val="0"/>
              <c:showVal val="1"/>
              <c:showCatName val="0"/>
              <c:showSerName val="0"/>
              <c:showPercent val="0"/>
              <c:showBubbleSize val="0"/>
            </c:dLbl>
            <c:dLbl>
              <c:idx val="1"/>
              <c:tx>
                <c:rich>
                  <a:bodyPr/>
                  <a:lstStyle/>
                  <a:p>
                    <a:r>
                      <a:t>26.97</a:t>
                    </a:r>
                  </a:p>
                </c:rich>
              </c:tx>
              <c:dLblPos val="t"/>
              <c:showLegendKey val="0"/>
              <c:showVal val="1"/>
              <c:showCatName val="0"/>
              <c:showSerName val="0"/>
              <c:showPercent val="0"/>
              <c:showBubbleSize val="0"/>
            </c:dLbl>
            <c:dLbl>
              <c:idx val="2"/>
              <c:tx>
                <c:rich>
                  <a:bodyPr/>
                  <a:lstStyle/>
                  <a:p>
                    <a:r>
                      <a:t>9.92</a:t>
                    </a:r>
                  </a:p>
                </c:rich>
              </c:tx>
              <c:dLblPos val="t"/>
              <c:showLegendKey val="0"/>
              <c:showVal val="1"/>
              <c:showCatName val="0"/>
              <c:showSerName val="0"/>
              <c:showPercent val="0"/>
              <c:showBubbleSize val="0"/>
            </c:dLbl>
            <c:dLbl>
              <c:idx val="3"/>
              <c:tx>
                <c:rich>
                  <a:bodyPr/>
                  <a:lstStyle/>
                  <a:p>
                    <a:r>
                      <a:t>13.85</a:t>
                    </a:r>
                  </a:p>
                </c:rich>
              </c:tx>
              <c:dLblPos val="t"/>
              <c:showLegendKey val="0"/>
              <c:showVal val="1"/>
              <c:showCatName val="0"/>
              <c:showSerName val="0"/>
              <c:showPercent val="0"/>
              <c:showBubbleSize val="0"/>
            </c:dLbl>
            <c:dLbl>
              <c:idx val="4"/>
              <c:tx>
                <c:rich>
                  <a:bodyPr/>
                  <a:lstStyle/>
                  <a:p>
                    <a:r>
                      <a:t>7.76</a:t>
                    </a:r>
                  </a:p>
                </c:rich>
              </c:tx>
              <c:dLblPos val="t"/>
              <c:showLegendKey val="0"/>
              <c:showVal val="1"/>
              <c:showCatName val="0"/>
              <c:showSerName val="0"/>
              <c:showPercent val="0"/>
              <c:showBubbleSize val="0"/>
            </c:dLbl>
            <c:dLbl>
              <c:idx val="5"/>
              <c:tx>
                <c:rich>
                  <a:bodyPr/>
                  <a:lstStyle/>
                  <a:p>
                    <a:r>
                      <a:t>9.96</a:t>
                    </a:r>
                  </a:p>
                </c:rich>
              </c:tx>
              <c:dLblPos val="t"/>
              <c:showLegendKey val="0"/>
              <c:showVal val="1"/>
              <c:showCatName val="0"/>
              <c:showSerName val="0"/>
              <c:showPercent val="0"/>
              <c:showBubbleSize val="0"/>
            </c:dLbl>
            <c:dLbl>
              <c:idx val="6"/>
              <c:tx>
                <c:rich>
                  <a:bodyPr/>
                  <a:lstStyle/>
                  <a:p>
                    <a:r>
                      <a:t>10.0</a:t>
                    </a:r>
                  </a:p>
                </c:rich>
              </c:tx>
              <c:dLblPos val="t"/>
              <c:showLegendKey val="0"/>
              <c:showVal val="1"/>
              <c:showCatName val="0"/>
              <c:showSerName val="0"/>
              <c:showPercent val="0"/>
              <c:showBubbleSize val="0"/>
            </c:dLbl>
            <c:dLbl>
              <c:idx val="7"/>
              <c:tx>
                <c:rich>
                  <a:bodyPr/>
                  <a:lstStyle/>
                  <a:p>
                    <a:r>
                      <a:t>9.97</a:t>
                    </a:r>
                  </a:p>
                </c:rich>
              </c:tx>
              <c:dLblPos val="t"/>
              <c:showLegendKey val="0"/>
              <c:showVal val="1"/>
              <c:showCatName val="0"/>
              <c:showSerName val="0"/>
              <c:showPercent val="0"/>
              <c:showBubbleSize val="0"/>
            </c:dLbl>
            <c:dLbl>
              <c:idx val="8"/>
              <c:tx>
                <c:rich>
                  <a:bodyPr/>
                  <a:lstStyle/>
                  <a:p>
                    <a:r>
                      <a:t>16.85</a:t>
                    </a:r>
                  </a:p>
                </c:rich>
              </c:tx>
              <c:dLblPos val="t"/>
              <c:showLegendKey val="0"/>
              <c:showVal val="1"/>
              <c:showCatName val="0"/>
              <c:showSerName val="0"/>
              <c:showPercent val="0"/>
              <c:showBubbleSize val="0"/>
            </c:dLbl>
            <c:dLbl>
              <c:idx val="9"/>
              <c:tx>
                <c:rich>
                  <a:bodyPr/>
                  <a:lstStyle/>
                  <a:p>
                    <a:r>
                      <a:t>5.74</a:t>
                    </a:r>
                  </a:p>
                </c:rich>
              </c:tx>
              <c:dLblPos val="t"/>
              <c:showLegendKey val="0"/>
              <c:showVal val="1"/>
              <c:showCatName val="0"/>
              <c:showSerName val="0"/>
              <c:showPercent val="0"/>
              <c:showBubbleSize val="0"/>
            </c:dLbl>
            <c:dLbl>
              <c:idx val="10"/>
              <c:tx>
                <c:rich>
                  <a:bodyPr/>
                  <a:lstStyle/>
                  <a:p>
                    <a:r>
                      <a:t>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YDRO 5 SENSITIVE 5 BLADE REFILL SENSITIVE 6CT</c:v>
                </c:pt>
                <c:pt idx="1">
                  <c:v>HYDRO 5 SENSITIVE 5 BLADE REFILL SENSITIVE 12CT</c:v>
                </c:pt>
                <c:pt idx="2">
                  <c:v>SCHICK HYDRO 3 SENSITIVE 3 BLADE REFILL SENSITIVE 5CT</c:v>
                </c:pt>
                <c:pt idx="3">
                  <c:v>CREMO 5 BLADE REFILL NORMAL 4CT</c:v>
                </c:pt>
                <c:pt idx="4">
                  <c:v>HYDRO 5 SENSITIVE 5 BLADE REFILL SENSITIVE 4CT</c:v>
                </c:pt>
                <c:pt idx="5">
                  <c:v>HYDRO 5 SENSITIVE 5 BLADE RAZOR SENSITIVE 3CT</c:v>
                </c:pt>
                <c:pt idx="6">
                  <c:v>HYDRO 5 SENSITIVE GRAY HOLIDAY GIFT PACK 5 BLADE RAZOR SENSITIVE 3CT</c:v>
                </c:pt>
                <c:pt idx="7">
                  <c:v>SCHICK HYDRO 3 SENSITIVE 3 BLADE RAZOR SENSITIVE 4CT</c:v>
                </c:pt>
                <c:pt idx="8">
                  <c:v>CREMO 5 BLADE RAZOR NORMAL 2CT</c:v>
                </c:pt>
                <c:pt idx="9">
                  <c:v>HYDRO 5 SENSITIVE 5 BLADE RAZOR SENSITIVE 2CT</c:v>
                </c:pt>
                <c:pt idx="10">
                  <c:v>HYDRO 5 DRY SKIN 5 BLADE RAZOR DRY 2CT</c:v>
                </c:pt>
              </c:strCache>
            </c:strRef>
          </c:cat>
          <c:val>
            <c:numRef>
              <c:f>Sheet1!$B$2:$B$12</c:f>
              <c:numCache>
                <c:formatCode>General</c:formatCode>
                <c:ptCount val="11"/>
                <c:pt idx="0">
                  <c:v>14.91</c:v>
                </c:pt>
                <c:pt idx="1">
                  <c:v>26.97</c:v>
                </c:pt>
                <c:pt idx="2">
                  <c:v>9.92</c:v>
                </c:pt>
                <c:pt idx="3">
                  <c:v>13.85</c:v>
                </c:pt>
                <c:pt idx="4">
                  <c:v>7.76</c:v>
                </c:pt>
                <c:pt idx="5">
                  <c:v>9.96</c:v>
                </c:pt>
                <c:pt idx="6">
                  <c:v>10.0</c:v>
                </c:pt>
                <c:pt idx="7">
                  <c:v>9.97</c:v>
                </c:pt>
                <c:pt idx="8">
                  <c:v>16.85</c:v>
                </c:pt>
                <c:pt idx="9">
                  <c:v>5.74</c:v>
                </c:pt>
                <c:pt idx="10">
                  <c:v>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2</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2</a:t>
                    </a:r>
                  </a:p>
                </c:rich>
              </c:tx>
              <c:dLblPos val="t"/>
              <c:showLegendKey val="0"/>
              <c:showVal val="1"/>
              <c:showCatName val="0"/>
              <c:showSerName val="0"/>
              <c:showPercent val="0"/>
              <c:showBubbleSize val="0"/>
            </c:dLbl>
            <c:dLbl>
              <c:idx val="6"/>
              <c:tx>
                <c:rich>
                  <a:bodyPr/>
                  <a:lstStyle/>
                  <a:p>
                    <a:r>
                      <a:t>14.86</a:t>
                    </a:r>
                  </a:p>
                </c:rich>
              </c:tx>
              <c:dLblPos val="t"/>
              <c:showLegendKey val="0"/>
              <c:showVal val="1"/>
              <c:showCatName val="0"/>
              <c:showSerName val="0"/>
              <c:showPercent val="0"/>
              <c:showBubbleSize val="0"/>
            </c:dLbl>
            <c:dLbl>
              <c:idx val="7"/>
              <c:tx>
                <c:rich>
                  <a:bodyPr/>
                  <a:lstStyle/>
                  <a:p>
                    <a:r>
                      <a:t>10.0</a:t>
                    </a:r>
                  </a:p>
                </c:rich>
              </c:tx>
              <c:dLblPos val="t"/>
              <c:showLegendKey val="0"/>
              <c:showVal val="1"/>
              <c:showCatName val="0"/>
              <c:showSerName val="0"/>
              <c:showPercent val="0"/>
              <c:showBubbleSize val="0"/>
            </c:dLbl>
            <c:dLbl>
              <c:idx val="8"/>
              <c:tx>
                <c:rich>
                  <a:bodyPr/>
                  <a:lstStyle/>
                  <a:p>
                    <a:r>
                      <a:t>9.2</a:t>
                    </a:r>
                  </a:p>
                </c:rich>
              </c:tx>
              <c:dLblPos val="t"/>
              <c:showLegendKey val="0"/>
              <c:showVal val="1"/>
              <c:showCatName val="0"/>
              <c:showSerName val="0"/>
              <c:showPercent val="0"/>
              <c:showBubbleSize val="0"/>
            </c:dLbl>
            <c:dLbl>
              <c:idx val="9"/>
              <c:tx>
                <c:rich>
                  <a:bodyPr/>
                  <a:lstStyle/>
                  <a:p>
                    <a:r>
                      <a:t>9.65</a:t>
                    </a:r>
                  </a:p>
                </c:rich>
              </c:tx>
              <c:dLblPos val="t"/>
              <c:showLegendKey val="0"/>
              <c:showVal val="1"/>
              <c:showCatName val="0"/>
              <c:showSerName val="0"/>
              <c:showPercent val="0"/>
              <c:showBubbleSize val="0"/>
            </c:dLbl>
            <c:dLbl>
              <c:idx val="10"/>
              <c:tx>
                <c:rich>
                  <a:bodyPr/>
                  <a:lstStyle/>
                  <a:p>
                    <a:r>
                      <a:t>8.66</a:t>
                    </a:r>
                  </a:p>
                </c:rich>
              </c:tx>
              <c:dLblPos val="t"/>
              <c:showLegendKey val="0"/>
              <c:showVal val="1"/>
              <c:showCatName val="0"/>
              <c:showSerName val="0"/>
              <c:showPercent val="0"/>
              <c:showBubbleSize val="0"/>
            </c:dLbl>
            <c:dLbl>
              <c:idx val="11"/>
              <c:tx>
                <c:rich>
                  <a:bodyPr/>
                  <a:lstStyle/>
                  <a:p>
                    <a:r>
                      <a:t>16.67</a:t>
                    </a:r>
                  </a:p>
                </c:rich>
              </c:tx>
              <c:dLblPos val="t"/>
              <c:showLegendKey val="0"/>
              <c:showVal val="1"/>
              <c:showCatName val="0"/>
              <c:showSerName val="0"/>
              <c:showPercent val="0"/>
              <c:showBubbleSize val="0"/>
            </c:dLbl>
            <c:dLbl>
              <c:idx val="12"/>
              <c:tx>
                <c:rich>
                  <a:bodyPr/>
                  <a:lstStyle/>
                  <a:p>
                    <a:r>
                      <a:t>9.13</a:t>
                    </a:r>
                  </a:p>
                </c:rich>
              </c:tx>
              <c:dLblPos val="t"/>
              <c:showLegendKey val="0"/>
              <c:showVal val="1"/>
              <c:showCatName val="0"/>
              <c:showSerName val="0"/>
              <c:showPercent val="0"/>
              <c:showBubbleSize val="0"/>
            </c:dLbl>
            <c:dLbl>
              <c:idx val="13"/>
              <c:tx>
                <c:rich>
                  <a:bodyPr/>
                  <a:lstStyle/>
                  <a:p>
                    <a:r>
                      <a:t>22.63</a:t>
                    </a:r>
                  </a:p>
                </c:rich>
              </c:tx>
              <c:dLblPos val="t"/>
              <c:showLegendKey val="0"/>
              <c:showVal val="1"/>
              <c:showCatName val="0"/>
              <c:showSerName val="0"/>
              <c:showPercent val="0"/>
              <c:showBubbleSize val="0"/>
            </c:dLbl>
            <c:dLbl>
              <c:idx val="14"/>
              <c:tx>
                <c:rich>
                  <a:bodyPr/>
                  <a:lstStyle/>
                  <a:p>
                    <a:r>
                      <a:t>16.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SCHICK XTREME 3 SENSITIVE GREEN HOLIDAY GIFT PACK 3 BLADE DISPOSABLE SENSITIVE 8CT</c:v>
                </c:pt>
                <c:pt idx="8">
                  <c:v>SCHICK XTREME 3 SENSITIVE GREEN BLACK 3 BLADE DISPOSABLE SENSITIVE 4CT</c:v>
                </c:pt>
                <c:pt idx="9">
                  <c:v>SCHICK XTREME 3 FACE AND BODY 3 BLADE DISPOSABLE NORMAL 4CT</c:v>
                </c:pt>
                <c:pt idx="10">
                  <c:v>SCHICK XTREME 4 OUTLAST 4 BLADE DISPOSABLE NORMAL 3CT</c:v>
                </c:pt>
                <c:pt idx="11">
                  <c:v>SCHICK XTREME 3 SENSITIVE GREEN BLACK 3 BLADE DISPOSABLE SENSITIVE 8CT</c:v>
                </c:pt>
                <c:pt idx="12">
                  <c:v>SCHICK XTREME 3 DUO COMFORT 3 BLADE DISPOSABLE NORMAL 4CT</c:v>
                </c:pt>
                <c:pt idx="13">
                  <c:v>SCHICK XTREME 3 SENSITIVE BLACK 3 BLADE DISPOSABLE SENSITIVE 20CT</c:v>
                </c:pt>
                <c:pt idx="14">
                  <c:v>SCHICK XTREME 3 SENSITIVE GREEN BLACK 3 BLADE DISPOSABLE SENSITIVE 12CT</c:v>
                </c:pt>
              </c:strCache>
            </c:strRef>
          </c:cat>
          <c:val>
            <c:numRef>
              <c:f>Sheet1!$B$2:$B$16</c:f>
              <c:numCache>
                <c:formatCode>General</c:formatCode>
                <c:ptCount val="15"/>
                <c:pt idx="0">
                  <c:v>7.19</c:v>
                </c:pt>
                <c:pt idx="1">
                  <c:v>7.21</c:v>
                </c:pt>
                <c:pt idx="2">
                  <c:v>11.82</c:v>
                </c:pt>
                <c:pt idx="3">
                  <c:v>20.21</c:v>
                </c:pt>
                <c:pt idx="4">
                  <c:v>15.09</c:v>
                </c:pt>
                <c:pt idx="5">
                  <c:v>11.22</c:v>
                </c:pt>
                <c:pt idx="6">
                  <c:v>14.86</c:v>
                </c:pt>
                <c:pt idx="7">
                  <c:v>10.0</c:v>
                </c:pt>
                <c:pt idx="8">
                  <c:v>9.2</c:v>
                </c:pt>
                <c:pt idx="9">
                  <c:v>9.65</c:v>
                </c:pt>
                <c:pt idx="10">
                  <c:v>8.66</c:v>
                </c:pt>
                <c:pt idx="11">
                  <c:v>16.67</c:v>
                </c:pt>
                <c:pt idx="12">
                  <c:v>9.13</c:v>
                </c:pt>
                <c:pt idx="13">
                  <c:v>22.63</c:v>
                </c:pt>
                <c:pt idx="14">
                  <c:v>1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2</a:t>
                    </a:r>
                  </a:p>
                </c:rich>
              </c:tx>
              <c:dLblPos val="t"/>
              <c:showLegendKey val="0"/>
              <c:showVal val="1"/>
              <c:showCatName val="0"/>
              <c:showSerName val="0"/>
              <c:showPercent val="0"/>
              <c:showBubbleSize val="0"/>
            </c:dLbl>
            <c:dLbl>
              <c:idx val="1"/>
              <c:tx>
                <c:rich>
                  <a:bodyPr/>
                  <a:lstStyle/>
                  <a:p>
                    <a:r>
                      <a:t>22.86</a:t>
                    </a:r>
                  </a:p>
                </c:rich>
              </c:tx>
              <c:dLblPos val="t"/>
              <c:showLegendKey val="0"/>
              <c:showVal val="1"/>
              <c:showCatName val="0"/>
              <c:showSerName val="0"/>
              <c:showPercent val="0"/>
              <c:showBubbleSize val="0"/>
            </c:dLbl>
            <c:dLbl>
              <c:idx val="2"/>
              <c:tx>
                <c:rich>
                  <a:bodyPr/>
                  <a:lstStyle/>
                  <a:p>
                    <a:r>
                      <a:t>25.21</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2</c:v>
                </c:pt>
                <c:pt idx="1">
                  <c:v>22.86</c:v>
                </c:pt>
                <c:pt idx="2">
                  <c:v>25.21</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2</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49</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9.98</a:t>
                    </a:r>
                  </a:p>
                </c:rich>
              </c:tx>
              <c:dLblPos val="t"/>
              <c:showLegendKey val="0"/>
              <c:showVal val="1"/>
              <c:showCatName val="0"/>
              <c:showSerName val="0"/>
              <c:showPercent val="0"/>
              <c:showBubbleSize val="0"/>
            </c:dLbl>
            <c:dLbl>
              <c:idx val="8"/>
              <c:tx>
                <c:rich>
                  <a:bodyPr/>
                  <a:lstStyle/>
                  <a:p>
                    <a:r>
                      <a:t>14.73</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26.51</a:t>
                    </a:r>
                  </a:p>
                </c:rich>
              </c:tx>
              <c:dLblPos val="t"/>
              <c:showLegendKey val="0"/>
              <c:showVal val="1"/>
              <c:showCatName val="0"/>
              <c:showSerName val="0"/>
              <c:showPercent val="0"/>
              <c:showBubbleSize val="0"/>
            </c:dLbl>
            <c:dLbl>
              <c:idx val="11"/>
              <c:tx>
                <c:rich>
                  <a:bodyPr/>
                  <a:lstStyle/>
                  <a:p>
                    <a:r>
                      <a:t>9.53</a:t>
                    </a:r>
                  </a:p>
                </c:rich>
              </c:tx>
              <c:dLblPos val="t"/>
              <c:showLegendKey val="0"/>
              <c:showVal val="1"/>
              <c:showCatName val="0"/>
              <c:showSerName val="0"/>
              <c:showPercent val="0"/>
              <c:showBubbleSize val="0"/>
            </c:dLbl>
            <c:dLbl>
              <c:idx val="12"/>
              <c:tx>
                <c:rich>
                  <a:bodyPr/>
                  <a:lstStyle/>
                  <a:p>
                    <a:r>
                      <a:t>9.99</a:t>
                    </a:r>
                  </a:p>
                </c:rich>
              </c:tx>
              <c:dLblPos val="t"/>
              <c:showLegendKey val="0"/>
              <c:showVal val="1"/>
              <c:showCatName val="0"/>
              <c:showSerName val="0"/>
              <c:showPercent val="0"/>
              <c:showBubbleSize val="0"/>
            </c:dLbl>
            <c:dLbl>
              <c:idx val="13"/>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SCHICK XTREME 3 SENSITIVE GREEN HOLIDAY GIFT PACK 3 BLADE DISPOSABLE SENSITIVE 8CT</c:v>
                </c:pt>
                <c:pt idx="8">
                  <c:v>HYDRO 5 SENSITIVE 5 BLADE REFILL SENSITIVE 6CT</c:v>
                </c:pt>
                <c:pt idx="9">
                  <c:v>HYDRO 5 SENSITIVE 5 BLADE RAZOR SENSITIVE 3CT</c:v>
                </c:pt>
                <c:pt idx="10">
                  <c:v>HYDRO 5 SENSITIVE 5 BLADE REFILL SENSITIVE 12CT</c:v>
                </c:pt>
                <c:pt idx="11">
                  <c:v>SCHICK HYDRO 3 SENSITIVE 3 BLADE REFILL SENSITIVE 5CT</c:v>
                </c:pt>
                <c:pt idx="12">
                  <c:v>HYDRO 5 SENSITIVE GRAY HOLIDAY GIFT PACK 5 BLADE RAZOR SENSITIVE 3CT</c:v>
                </c:pt>
                <c:pt idx="13">
                  <c:v>SCHICK HYDRO 3 SENSITIVE 3 BLADE RAZOR SENSITIVE 4CT</c:v>
                </c:pt>
              </c:strCache>
            </c:strRef>
          </c:cat>
          <c:val>
            <c:numRef>
              <c:f>Sheet1!$B$2:$B$15</c:f>
              <c:numCache>
                <c:formatCode>General</c:formatCode>
                <c:ptCount val="14"/>
                <c:pt idx="0">
                  <c:v>6.5</c:v>
                </c:pt>
                <c:pt idx="1">
                  <c:v>11.02</c:v>
                </c:pt>
                <c:pt idx="2">
                  <c:v>11.02</c:v>
                </c:pt>
                <c:pt idx="3">
                  <c:v>6.53</c:v>
                </c:pt>
                <c:pt idx="4">
                  <c:v>15.1</c:v>
                </c:pt>
                <c:pt idx="5">
                  <c:v>6.49</c:v>
                </c:pt>
                <c:pt idx="6">
                  <c:v>15.04</c:v>
                </c:pt>
                <c:pt idx="7">
                  <c:v>9.98</c:v>
                </c:pt>
                <c:pt idx="8">
                  <c:v>14.73</c:v>
                </c:pt>
                <c:pt idx="9">
                  <c:v>9.96</c:v>
                </c:pt>
                <c:pt idx="10">
                  <c:v>26.51</c:v>
                </c:pt>
                <c:pt idx="11">
                  <c:v>9.53</c:v>
                </c:pt>
                <c:pt idx="12">
                  <c:v>9.99</c:v>
                </c:pt>
                <c:pt idx="13">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2</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B$2:$B$9</c:f>
              <c:numCache>
                <c:formatCode>General</c:formatCode>
                <c:ptCount val="8"/>
                <c:pt idx="0">
                  <c:v>6.5</c:v>
                </c:pt>
                <c:pt idx="1">
                  <c:v>11.01</c:v>
                </c:pt>
                <c:pt idx="2">
                  <c:v>6.5</c:v>
                </c:pt>
                <c:pt idx="3">
                  <c:v>15.03</c:v>
                </c:pt>
                <c:pt idx="4">
                  <c:v>10.0</c:v>
                </c:pt>
                <c:pt idx="5">
                  <c:v>11.02</c:v>
                </c:pt>
                <c:pt idx="6">
                  <c:v>6.53</c:v>
                </c:pt>
                <c:pt idx="7">
                  <c:v>1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15.22</a:t>
                    </a:r>
                  </a:p>
                </c:rich>
              </c:tx>
              <c:showLegendKey val="0"/>
              <c:showVal val="1"/>
              <c:showCatName val="0"/>
              <c:showSerName val="0"/>
              <c:showPercent val="0"/>
              <c:showBubbleSize val="0"/>
            </c:dLbl>
            <c:dLbl>
              <c:idx val="2"/>
              <c:tx>
                <c:rich>
                  <a:bodyPr/>
                  <a:lstStyle/>
                  <a:p>
                    <a:r>
                      <a:t>7.29</a:t>
                    </a:r>
                  </a:p>
                </c:rich>
              </c:tx>
              <c:showLegendKey val="0"/>
              <c:showVal val="1"/>
              <c:showCatName val="0"/>
              <c:showSerName val="0"/>
              <c:showPercent val="0"/>
              <c:showBubbleSize val="0"/>
            </c:dLbl>
            <c:dLbl>
              <c:idx val="3"/>
              <c:tx>
                <c:rich>
                  <a:bodyPr/>
                  <a:lstStyle/>
                  <a:p>
                    <a:r>
                      <a:t>10.59</a:t>
                    </a:r>
                  </a:p>
                </c:rich>
              </c:tx>
              <c:showLegendKey val="0"/>
              <c:showVal val="1"/>
              <c:showCatName val="0"/>
              <c:showSerName val="0"/>
              <c:showPercent val="0"/>
              <c:showBubbleSize val="0"/>
            </c:dLbl>
            <c:dLbl>
              <c:idx val="4"/>
              <c:tx>
                <c:rich>
                  <a:bodyPr/>
                  <a:lstStyle/>
                  <a:p>
                    <a:r>
                      <a:t>7.27</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dLbl>
              <c:idx val="13"/>
              <c:tx>
                <c:rich>
                  <a:bodyPr/>
                  <a:lstStyle/>
                  <a:p>
                    <a:r>
                      <a:t>16.3</a:t>
                    </a:r>
                  </a:p>
                </c:rich>
              </c:tx>
              <c:showLegendKey val="0"/>
              <c:showVal val="1"/>
              <c:showCatName val="0"/>
              <c:showSerName val="0"/>
              <c:showPercent val="0"/>
              <c:showBubbleSize val="0"/>
            </c:dLbl>
            <c:dLbl>
              <c:idx val="14"/>
              <c:tx>
                <c:rich>
                  <a:bodyPr/>
                  <a:lstStyle/>
                  <a:p>
                    <a:r>
                      <a:t>18.77</a:t>
                    </a:r>
                  </a:p>
                </c:rich>
              </c:tx>
              <c:showLegendKey val="0"/>
              <c:showVal val="1"/>
              <c:showCatName val="0"/>
              <c:showSerName val="0"/>
              <c:showPercent val="0"/>
              <c:showBubbleSize val="0"/>
            </c:dLbl>
            <c:dLbl>
              <c:idx val="15"/>
              <c:tx>
                <c:rich>
                  <a:bodyPr/>
                  <a:lstStyle/>
                  <a:p>
                    <a:r>
                      <a:t>19.45</a:t>
                    </a:r>
                  </a:p>
                </c:rich>
              </c:tx>
              <c:showLegendKey val="0"/>
              <c:showVal val="1"/>
              <c:showCatName val="0"/>
              <c:showSerName val="0"/>
              <c:showPercent val="0"/>
              <c:showBubbleSize val="0"/>
            </c:dLbl>
            <c:dLbl>
              <c:idx val="16"/>
              <c:tx>
                <c:rich>
                  <a:bodyPr/>
                  <a:lstStyle/>
                  <a:p>
                    <a:r>
                      <a:t>42.25</a:t>
                    </a:r>
                  </a:p>
                </c:rich>
              </c:tx>
              <c:showLegendKey val="0"/>
              <c:showVal val="1"/>
              <c:showCatName val="0"/>
              <c:showSerName val="0"/>
              <c:showPercent val="0"/>
              <c:showBubbleSize val="0"/>
            </c:dLbl>
            <c:dLbl>
              <c:idx val="17"/>
              <c:tx>
                <c:rich>
                  <a:bodyPr/>
                  <a:lstStyle/>
                  <a:p>
                    <a:r>
                      <a:t>13.06</a:t>
                    </a:r>
                  </a:p>
                </c:rich>
              </c:tx>
              <c:showLegendKey val="0"/>
              <c:showVal val="1"/>
              <c:showCatName val="0"/>
              <c:showSerName val="0"/>
              <c:showPercent val="0"/>
              <c:showBubbleSize val="0"/>
            </c:dLbl>
            <c:dLbl>
              <c:idx val="18"/>
              <c:tx>
                <c:rich>
                  <a:bodyPr/>
                  <a:lstStyle/>
                  <a:p>
                    <a:r>
                      <a:t>32.12</a:t>
                    </a:r>
                  </a:p>
                </c:rich>
              </c:tx>
              <c:showLegendKey val="0"/>
              <c:showVal val="1"/>
              <c:showCatName val="0"/>
              <c:showSerName val="0"/>
              <c:showPercent val="0"/>
              <c:showBubbleSize val="0"/>
            </c:dLbl>
            <c:dLbl>
              <c:idx val="19"/>
              <c:tx>
                <c:rich>
                  <a:bodyPr/>
                  <a:lstStyle/>
                  <a:p>
                    <a:r>
                      <a:t>42.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3 SENSITIVE BLACK GREEN 3 BLADE DISPOSABLE SENSITIVE 20CT</c:v>
                </c:pt>
                <c:pt idx="1">
                  <c:v>HYDRO 5 SENSITIVE 5 BLADE REFILL SENSITIVE 6CT</c:v>
                </c:pt>
                <c:pt idx="2">
                  <c:v>SCHICK XTREME 2 SENSITIVE 2 BLADE DISPOSABLE NORMAL 12CT</c:v>
                </c:pt>
                <c:pt idx="3">
                  <c:v>HYDRO 5 SENSITIVE 5 BLADE RAZOR SENSITIVE 3CT</c:v>
                </c:pt>
                <c:pt idx="4">
                  <c:v>SCHICK XTREME 3 SENSITIVE BLACK 3 BLADE DISPOSABLE SENSITIVE 4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HARRY'S 5 BLADE REFILL NORMAL 4CT</c:v>
                </c:pt>
                <c:pt idx="11">
                  <c:v>HARRY'S 5 BLADE REFILL NORMAL 8CT</c:v>
                </c:pt>
                <c:pt idx="12">
                  <c:v>HARRY'S 5 BLADE REFILL NORMAL 12CT</c:v>
                </c:pt>
                <c:pt idx="13">
                  <c:v>HARRY'S ORANGE 5 BLADE RAZOR NORMAL 5CT</c:v>
                </c:pt>
                <c:pt idx="14">
                  <c:v>HARRY'S SILVER 5 BLADE RAZOR NORMAL 5CT</c:v>
                </c:pt>
                <c:pt idx="15">
                  <c:v>GILLETTE FUSION 5 5 BLADE REFILL NORMAL 4CT</c:v>
                </c:pt>
                <c:pt idx="16">
                  <c:v>GILLETTE FUSION 5 5 BLADE REFILL NORMAL 16CT</c:v>
                </c:pt>
                <c:pt idx="17">
                  <c:v>GILLETTE MACH 3 3 BLADE REFILL NORMAL 4CT</c:v>
                </c:pt>
                <c:pt idx="18">
                  <c:v>GILLETTE FUSION 5 5 BLADE REFILL NORMAL 8CT</c:v>
                </c:pt>
                <c:pt idx="19">
                  <c:v>GILLETTE FUSION 5 5 BLADE REFILL NORMAL 12CT</c:v>
                </c:pt>
              </c:strCache>
            </c:strRef>
          </c:cat>
          <c:val>
            <c:numRef>
              <c:f>Sheet1!$B$2:$B$21</c:f>
              <c:numCache>
                <c:formatCode>General</c:formatCode>
                <c:ptCount val="20"/>
                <c:pt idx="0">
                  <c:v>20.09</c:v>
                </c:pt>
                <c:pt idx="1">
                  <c:v>15.22</c:v>
                </c:pt>
                <c:pt idx="2">
                  <c:v>7.29</c:v>
                </c:pt>
                <c:pt idx="3">
                  <c:v>10.59</c:v>
                </c:pt>
                <c:pt idx="4">
                  <c:v>7.27</c:v>
                </c:pt>
                <c:pt idx="5">
                  <c:v>6.93</c:v>
                </c:pt>
                <c:pt idx="6">
                  <c:v>7.11</c:v>
                </c:pt>
                <c:pt idx="7">
                  <c:v>7.15</c:v>
                </c:pt>
                <c:pt idx="8">
                  <c:v>3.77</c:v>
                </c:pt>
                <c:pt idx="9">
                  <c:v>13.0</c:v>
                </c:pt>
                <c:pt idx="10">
                  <c:v>10.19</c:v>
                </c:pt>
                <c:pt idx="11">
                  <c:v>17.2</c:v>
                </c:pt>
                <c:pt idx="12">
                  <c:v>24.64</c:v>
                </c:pt>
                <c:pt idx="13">
                  <c:v>16.3</c:v>
                </c:pt>
                <c:pt idx="14">
                  <c:v>18.77</c:v>
                </c:pt>
                <c:pt idx="15">
                  <c:v>19.45</c:v>
                </c:pt>
                <c:pt idx="16">
                  <c:v>42.25</c:v>
                </c:pt>
                <c:pt idx="17">
                  <c:v>13.06</c:v>
                </c:pt>
                <c:pt idx="18">
                  <c:v>32.12</c:v>
                </c:pt>
                <c:pt idx="19">
                  <c:v>42.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4.71</a:t>
                    </a:r>
                  </a:p>
                </c:rich>
              </c:tx>
              <c:showLegendKey val="0"/>
              <c:showVal val="1"/>
              <c:showCatName val="0"/>
              <c:showSerName val="0"/>
              <c:showPercent val="0"/>
              <c:showBubbleSize val="0"/>
            </c:dLbl>
            <c:dLbl>
              <c:idx val="2"/>
              <c:tx>
                <c:rich>
                  <a:bodyPr/>
                  <a:lstStyle/>
                  <a:p>
                    <a:r>
                      <a:t>42.27</a:t>
                    </a:r>
                  </a:p>
                </c:rich>
              </c:tx>
              <c:showLegendKey val="0"/>
              <c:showVal val="1"/>
              <c:showCatName val="0"/>
              <c:showSerName val="0"/>
              <c:showPercent val="0"/>
              <c:showBubbleSize val="0"/>
            </c:dLbl>
            <c:dLbl>
              <c:idx val="3"/>
              <c:tx>
                <c:rich>
                  <a:bodyPr/>
                  <a:lstStyle/>
                  <a:p>
                    <a:r>
                      <a:t>39.57</a:t>
                    </a:r>
                  </a:p>
                </c:rich>
              </c:tx>
              <c:showLegendKey val="0"/>
              <c:showVal val="1"/>
              <c:showCatName val="0"/>
              <c:showSerName val="0"/>
              <c:showPercent val="0"/>
              <c:showBubbleSize val="0"/>
            </c:dLbl>
            <c:dLbl>
              <c:idx val="4"/>
              <c:tx>
                <c:rich>
                  <a:bodyPr/>
                  <a:lstStyle/>
                  <a:p>
                    <a:r>
                      <a:t>33.57</a:t>
                    </a:r>
                  </a:p>
                </c:rich>
              </c:tx>
              <c:showLegendKey val="0"/>
              <c:showVal val="1"/>
              <c:showCatName val="0"/>
              <c:showSerName val="0"/>
              <c:showPercent val="0"/>
              <c:showBubbleSize val="0"/>
            </c:dLbl>
            <c:dLbl>
              <c:idx val="5"/>
              <c:tx>
                <c:rich>
                  <a:bodyPr/>
                  <a:lstStyle/>
                  <a:p>
                    <a:r>
                      <a:t>46.81</a:t>
                    </a:r>
                  </a:p>
                </c:rich>
              </c:tx>
              <c:showLegendKey val="0"/>
              <c:showVal val="1"/>
              <c:showCatName val="0"/>
              <c:showSerName val="0"/>
              <c:showPercent val="0"/>
              <c:showBubbleSize val="0"/>
            </c:dLbl>
            <c:dLbl>
              <c:idx val="6"/>
              <c:tx>
                <c:rich>
                  <a:bodyPr/>
                  <a:lstStyle/>
                  <a:p>
                    <a:r>
                      <a:t>32.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CHICK XTREME 3 SENSITIVE BLACK GREEN 3 BLADE DISPOSABLE SENSITIVE 20CT</c:v>
                </c:pt>
                <c:pt idx="1">
                  <c:v>SCHICK XTREME 3 SENSITIVE BLACK 3 BLADE DISPOSABLE SENSITIVE 20CT</c:v>
                </c:pt>
                <c:pt idx="2">
                  <c:v>GILLETTE FUSION 5 5 BLADE REFILL NORMAL 16CT</c:v>
                </c:pt>
                <c:pt idx="3">
                  <c:v>GILLETTE MACH 3 3 BLADE REFILL NORMAL 20CT</c:v>
                </c:pt>
                <c:pt idx="4">
                  <c:v>GILLETTE SENSOR 2 PLUS PIVOT 2 BLADE DISPOSABLE NORMAL 52CT</c:v>
                </c:pt>
                <c:pt idx="5">
                  <c:v>GILLETTE FUSION 5 PROGLIDE 5 BLADE RAZOR NORMAL 13CT</c:v>
                </c:pt>
                <c:pt idx="6">
                  <c:v>GILLETTE FUSION 5 5 BLADE RAZOR NORMAL 9CT</c:v>
                </c:pt>
              </c:strCache>
            </c:strRef>
          </c:cat>
          <c:val>
            <c:numRef>
              <c:f>Sheet1!$B$2:$B$8</c:f>
              <c:numCache>
                <c:formatCode>General</c:formatCode>
                <c:ptCount val="7"/>
                <c:pt idx="0">
                  <c:v>20.1</c:v>
                </c:pt>
                <c:pt idx="1">
                  <c:v>24.71</c:v>
                </c:pt>
                <c:pt idx="2">
                  <c:v>42.27</c:v>
                </c:pt>
                <c:pt idx="3">
                  <c:v>39.57</c:v>
                </c:pt>
                <c:pt idx="4">
                  <c:v>33.57</c:v>
                </c:pt>
                <c:pt idx="5">
                  <c:v>46.81</c:v>
                </c:pt>
                <c:pt idx="6">
                  <c:v>3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6.5</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26.51</a:t>
                    </a:r>
                  </a:p>
                </c:rich>
              </c:tx>
              <c:showLegendKey val="0"/>
              <c:showVal val="1"/>
              <c:showCatName val="0"/>
              <c:showSerName val="0"/>
              <c:showPercent val="0"/>
              <c:showBubbleSize val="0"/>
            </c:dLbl>
            <c:dLbl>
              <c:idx val="4"/>
              <c:tx>
                <c:rich>
                  <a:bodyPr/>
                  <a:lstStyle/>
                  <a:p>
                    <a:r>
                      <a:t>11.02</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6.96</a:t>
                    </a:r>
                  </a:p>
                </c:rich>
              </c:tx>
              <c:showLegendKey val="0"/>
              <c:showVal val="1"/>
              <c:showCatName val="0"/>
              <c:showSerName val="0"/>
              <c:showPercent val="0"/>
              <c:showBubbleSize val="0"/>
            </c:dLbl>
            <c:dLbl>
              <c:idx val="12"/>
              <c:tx>
                <c:rich>
                  <a:bodyPr/>
                  <a:lstStyle/>
                  <a:p>
                    <a:r>
                      <a:t>23.97</a:t>
                    </a:r>
                  </a:p>
                </c:rich>
              </c:tx>
              <c:showLegendKey val="0"/>
              <c:showVal val="1"/>
              <c:showCatName val="0"/>
              <c:showSerName val="0"/>
              <c:showPercent val="0"/>
              <c:showBubbleSize val="0"/>
            </c:dLbl>
            <c:dLbl>
              <c:idx val="13"/>
              <c:tx>
                <c:rich>
                  <a:bodyPr/>
                  <a:lstStyle/>
                  <a:p>
                    <a:r>
                      <a:t>16.01</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dLbl>
              <c:idx val="15"/>
              <c:tx>
                <c:rich>
                  <a:bodyPr/>
                  <a:lstStyle/>
                  <a:p>
                    <a:r>
                      <a:t>18.42</a:t>
                    </a:r>
                  </a:p>
                </c:rich>
              </c:tx>
              <c:showLegendKey val="0"/>
              <c:showVal val="1"/>
              <c:showCatName val="0"/>
              <c:showSerName val="0"/>
              <c:showPercent val="0"/>
              <c:showBubbleSize val="0"/>
            </c:dLbl>
            <c:dLbl>
              <c:idx val="16"/>
              <c:tx>
                <c:rich>
                  <a:bodyPr/>
                  <a:lstStyle/>
                  <a:p>
                    <a:r>
                      <a:t>12.46</a:t>
                    </a:r>
                  </a:p>
                </c:rich>
              </c:tx>
              <c:showLegendKey val="0"/>
              <c:showVal val="1"/>
              <c:showCatName val="0"/>
              <c:showSerName val="0"/>
              <c:showPercent val="0"/>
              <c:showBubbleSize val="0"/>
            </c:dLbl>
            <c:dLbl>
              <c:idx val="17"/>
              <c:tx>
                <c:rich>
                  <a:bodyPr/>
                  <a:lstStyle/>
                  <a:p>
                    <a:r>
                      <a:t>40.1</a:t>
                    </a:r>
                  </a:p>
                </c:rich>
              </c:tx>
              <c:showLegendKey val="0"/>
              <c:showVal val="1"/>
              <c:showCatName val="0"/>
              <c:showSerName val="0"/>
              <c:showPercent val="0"/>
              <c:showBubbleSize val="0"/>
            </c:dLbl>
            <c:dLbl>
              <c:idx val="18"/>
              <c:tx>
                <c:rich>
                  <a:bodyPr/>
                  <a:lstStyle/>
                  <a:p>
                    <a:r>
                      <a:t>29.97</a:t>
                    </a:r>
                  </a:p>
                </c:rich>
              </c:tx>
              <c:showLegendKey val="0"/>
              <c:showVal val="1"/>
              <c:showCatName val="0"/>
              <c:showSerName val="0"/>
              <c:showPercent val="0"/>
              <c:showBubbleSize val="0"/>
            </c:dLbl>
            <c:dLbl>
              <c:idx val="19"/>
              <c:tx>
                <c:rich>
                  <a:bodyPr/>
                  <a:lstStyle/>
                  <a:p>
                    <a:r>
                      <a:t>23.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SCHICK XTREME 2 SENSITIVE 2 BLADE DISPOSABLE NORMAL 12CT</c:v>
                </c:pt>
                <c:pt idx="2">
                  <c:v>HYDRO 5 SENSITIVE 5 BLADE RAZOR SENSITIVE 3CT</c:v>
                </c:pt>
                <c:pt idx="3">
                  <c:v>HYDRO 5 SENSITIVE 5 BLADE REFILL SENSITIVE 12CT</c:v>
                </c:pt>
                <c:pt idx="4">
                  <c:v>SCHICK XTREME 3 SENSITIVE GREEN 3 BLADE DISPOSABLE SENSITIVE 8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HARRY'S 5 BLADE REFILL NORMAL 4CT</c:v>
                </c:pt>
                <c:pt idx="11">
                  <c:v>HARRY'S 5 BLADE REFILL NORMAL 8CT</c:v>
                </c:pt>
                <c:pt idx="12">
                  <c:v>HARRY'S 5 BLADE REFILL NORMAL 12CT</c:v>
                </c:pt>
                <c:pt idx="13">
                  <c:v>HARRY'S ORANGE 5 BLADE RAZOR NORMAL 5CT</c:v>
                </c:pt>
                <c:pt idx="14">
                  <c:v>HARRY'S SURF BLUE 5 BLADE RAZOR NORMAL 2CT</c:v>
                </c:pt>
                <c:pt idx="15">
                  <c:v>GILLETTE FUSION 5 5 BLADE REFILL NORMAL 4CT</c:v>
                </c:pt>
                <c:pt idx="16">
                  <c:v>GILLETTE MACH 3 3 BLADE REFILL NORMAL 4CT</c:v>
                </c:pt>
                <c:pt idx="17">
                  <c:v>GILLETTE FUSION 5 5 BLADE REFILL NORMAL 12CT</c:v>
                </c:pt>
                <c:pt idx="18">
                  <c:v>GILLETTE FUSION 5 5 BLADE REFILL NORMAL 8CT</c:v>
                </c:pt>
                <c:pt idx="19">
                  <c:v>GILLETTE FUSION 5 5 BLADE RAZOR NORMAL 5CT</c:v>
                </c:pt>
              </c:strCache>
            </c:strRef>
          </c:cat>
          <c:val>
            <c:numRef>
              <c:f>Sheet1!$B$2:$B$21</c:f>
              <c:numCache>
                <c:formatCode>General</c:formatCode>
                <c:ptCount val="20"/>
                <c:pt idx="0">
                  <c:v>14.73</c:v>
                </c:pt>
                <c:pt idx="1">
                  <c:v>6.5</c:v>
                </c:pt>
                <c:pt idx="2">
                  <c:v>9.96</c:v>
                </c:pt>
                <c:pt idx="3">
                  <c:v>26.51</c:v>
                </c:pt>
                <c:pt idx="4">
                  <c:v>11.02</c:v>
                </c:pt>
                <c:pt idx="5">
                  <c:v>6.92</c:v>
                </c:pt>
                <c:pt idx="6">
                  <c:v>3.43</c:v>
                </c:pt>
                <c:pt idx="7">
                  <c:v>12.82</c:v>
                </c:pt>
                <c:pt idx="8">
                  <c:v>19.98</c:v>
                </c:pt>
                <c:pt idx="9">
                  <c:v>6.94</c:v>
                </c:pt>
                <c:pt idx="10">
                  <c:v>9.97</c:v>
                </c:pt>
                <c:pt idx="11">
                  <c:v>16.96</c:v>
                </c:pt>
                <c:pt idx="12">
                  <c:v>23.97</c:v>
                </c:pt>
                <c:pt idx="13">
                  <c:v>16.01</c:v>
                </c:pt>
                <c:pt idx="14">
                  <c:v>9.99</c:v>
                </c:pt>
                <c:pt idx="15">
                  <c:v>18.42</c:v>
                </c:pt>
                <c:pt idx="16">
                  <c:v>12.46</c:v>
                </c:pt>
                <c:pt idx="17">
                  <c:v>40.1</c:v>
                </c:pt>
                <c:pt idx="18">
                  <c:v>29.97</c:v>
                </c:pt>
                <c:pt idx="19">
                  <c:v>23.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10.59</a:t>
                    </a:r>
                  </a:p>
                </c:rich>
              </c:tx>
              <c:showLegendKey val="0"/>
              <c:showVal val="1"/>
              <c:showCatName val="0"/>
              <c:showSerName val="0"/>
              <c:showPercent val="0"/>
              <c:showBubbleSize val="0"/>
            </c:dLbl>
            <c:dLbl>
              <c:idx val="2"/>
              <c:tx>
                <c:rich>
                  <a:bodyPr/>
                  <a:lstStyle/>
                  <a:p>
                    <a:r>
                      <a:t>26.91</a:t>
                    </a:r>
                  </a:p>
                </c:rich>
              </c:tx>
              <c:showLegendKey val="0"/>
              <c:showVal val="1"/>
              <c:showCatName val="0"/>
              <c:showSerName val="0"/>
              <c:showPercent val="0"/>
              <c:showBubbleSize val="0"/>
            </c:dLbl>
            <c:dLbl>
              <c:idx val="3"/>
              <c:tx>
                <c:rich>
                  <a:bodyPr/>
                  <a:lstStyle/>
                  <a:p>
                    <a:r>
                      <a:t>16.88</a:t>
                    </a:r>
                  </a:p>
                </c:rich>
              </c:tx>
              <c:showLegendKey val="0"/>
              <c:showVal val="1"/>
              <c:showCatName val="0"/>
              <c:showSerName val="0"/>
              <c:showPercent val="0"/>
              <c:showBubbleSize val="0"/>
            </c:dLbl>
            <c:dLbl>
              <c:idx val="4"/>
              <c:tx>
                <c:rich>
                  <a:bodyPr/>
                  <a:lstStyle/>
                  <a:p>
                    <a:r>
                      <a:t>13.58</a:t>
                    </a:r>
                  </a:p>
                </c:rich>
              </c:tx>
              <c:showLegendKey val="0"/>
              <c:showVal val="1"/>
              <c:showCatName val="0"/>
              <c:showSerName val="0"/>
              <c:showPercent val="0"/>
              <c:showBubbleSize val="0"/>
            </c:dLbl>
            <c:dLbl>
              <c:idx val="5"/>
              <c:tx>
                <c:rich>
                  <a:bodyPr/>
                  <a:lstStyle/>
                  <a:p>
                    <a:r>
                      <a:t>10.19</a:t>
                    </a:r>
                  </a:p>
                </c:rich>
              </c:tx>
              <c:showLegendKey val="0"/>
              <c:showVal val="1"/>
              <c:showCatName val="0"/>
              <c:showSerName val="0"/>
              <c:showPercent val="0"/>
              <c:showBubbleSize val="0"/>
            </c:dLbl>
            <c:dLbl>
              <c:idx val="6"/>
              <c:tx>
                <c:rich>
                  <a:bodyPr/>
                  <a:lstStyle/>
                  <a:p>
                    <a:r>
                      <a:t>17.2</a:t>
                    </a:r>
                  </a:p>
                </c:rich>
              </c:tx>
              <c:showLegendKey val="0"/>
              <c:showVal val="1"/>
              <c:showCatName val="0"/>
              <c:showSerName val="0"/>
              <c:showPercent val="0"/>
              <c:showBubbleSize val="0"/>
            </c:dLbl>
            <c:dLbl>
              <c:idx val="7"/>
              <c:tx>
                <c:rich>
                  <a:bodyPr/>
                  <a:lstStyle/>
                  <a:p>
                    <a:r>
                      <a:t>24.64</a:t>
                    </a:r>
                  </a:p>
                </c:rich>
              </c:tx>
              <c:showLegendKey val="0"/>
              <c:showVal val="1"/>
              <c:showCatName val="0"/>
              <c:showSerName val="0"/>
              <c:showPercent val="0"/>
              <c:showBubbleSize val="0"/>
            </c:dLbl>
            <c:dLbl>
              <c:idx val="8"/>
              <c:tx>
                <c:rich>
                  <a:bodyPr/>
                  <a:lstStyle/>
                  <a:p>
                    <a:r>
                      <a:t>16.3</a:t>
                    </a:r>
                  </a:p>
                </c:rich>
              </c:tx>
              <c:showLegendKey val="0"/>
              <c:showVal val="1"/>
              <c:showCatName val="0"/>
              <c:showSerName val="0"/>
              <c:showPercent val="0"/>
              <c:showBubbleSize val="0"/>
            </c:dLbl>
            <c:dLbl>
              <c:idx val="9"/>
              <c:tx>
                <c:rich>
                  <a:bodyPr/>
                  <a:lstStyle/>
                  <a:p>
                    <a:r>
                      <a:t>18.77</a:t>
                    </a:r>
                  </a:p>
                </c:rich>
              </c:tx>
              <c:showLegendKey val="0"/>
              <c:showVal val="1"/>
              <c:showCatName val="0"/>
              <c:showSerName val="0"/>
              <c:showPercent val="0"/>
              <c:showBubbleSize val="0"/>
            </c:dLbl>
            <c:dLbl>
              <c:idx val="10"/>
              <c:tx>
                <c:rich>
                  <a:bodyPr/>
                  <a:lstStyle/>
                  <a:p>
                    <a:r>
                      <a:t>9.79</a:t>
                    </a:r>
                  </a:p>
                </c:rich>
              </c:tx>
              <c:showLegendKey val="0"/>
              <c:showVal val="1"/>
              <c:showCatName val="0"/>
              <c:showSerName val="0"/>
              <c:showPercent val="0"/>
              <c:showBubbleSize val="0"/>
            </c:dLbl>
            <c:dLbl>
              <c:idx val="11"/>
              <c:tx>
                <c:rich>
                  <a:bodyPr/>
                  <a:lstStyle/>
                  <a:p>
                    <a:r>
                      <a:t>9.7</a:t>
                    </a:r>
                  </a:p>
                </c:rich>
              </c:tx>
              <c:showLegendKey val="0"/>
              <c:showVal val="1"/>
              <c:showCatName val="0"/>
              <c:showSerName val="0"/>
              <c:showPercent val="0"/>
              <c:showBubbleSize val="0"/>
            </c:dLbl>
            <c:dLbl>
              <c:idx val="12"/>
              <c:tx>
                <c:rich>
                  <a:bodyPr/>
                  <a:lstStyle/>
                  <a:p>
                    <a:r>
                      <a:t>19.45</a:t>
                    </a:r>
                  </a:p>
                </c:rich>
              </c:tx>
              <c:showLegendKey val="0"/>
              <c:showVal val="1"/>
              <c:showCatName val="0"/>
              <c:showSerName val="0"/>
              <c:showPercent val="0"/>
              <c:showBubbleSize val="0"/>
            </c:dLbl>
            <c:dLbl>
              <c:idx val="13"/>
              <c:tx>
                <c:rich>
                  <a:bodyPr/>
                  <a:lstStyle/>
                  <a:p>
                    <a:r>
                      <a:t>42.25</a:t>
                    </a:r>
                  </a:p>
                </c:rich>
              </c:tx>
              <c:showLegendKey val="0"/>
              <c:showVal val="1"/>
              <c:showCatName val="0"/>
              <c:showSerName val="0"/>
              <c:showPercent val="0"/>
              <c:showBubbleSize val="0"/>
            </c:dLbl>
            <c:dLbl>
              <c:idx val="14"/>
              <c:tx>
                <c:rich>
                  <a:bodyPr/>
                  <a:lstStyle/>
                  <a:p>
                    <a:r>
                      <a:t>13.06</a:t>
                    </a:r>
                  </a:p>
                </c:rich>
              </c:tx>
              <c:showLegendKey val="0"/>
              <c:showVal val="1"/>
              <c:showCatName val="0"/>
              <c:showSerName val="0"/>
              <c:showPercent val="0"/>
              <c:showBubbleSize val="0"/>
            </c:dLbl>
            <c:dLbl>
              <c:idx val="15"/>
              <c:tx>
                <c:rich>
                  <a:bodyPr/>
                  <a:lstStyle/>
                  <a:p>
                    <a:r>
                      <a:t>32.12</a:t>
                    </a:r>
                  </a:p>
                </c:rich>
              </c:tx>
              <c:showLegendKey val="0"/>
              <c:showVal val="1"/>
              <c:showCatName val="0"/>
              <c:showSerName val="0"/>
              <c:showPercent val="0"/>
              <c:showBubbleSize val="0"/>
            </c:dLbl>
            <c:dLbl>
              <c:idx val="16"/>
              <c:tx>
                <c:rich>
                  <a:bodyPr/>
                  <a:lstStyle/>
                  <a:p>
                    <a:r>
                      <a:t>42.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HYDRO 5 SENSITIVE 5 BLADE REFILL SENSITIVE 6CT</c:v>
                </c:pt>
                <c:pt idx="1">
                  <c:v>HYDRO 5 SENSITIVE 5 BLADE RAZOR SENSITIVE 3CT</c:v>
                </c:pt>
                <c:pt idx="2">
                  <c:v>HYDRO 5 SENSITIVE 5 BLADE REFILL SENSITIVE 12CT</c:v>
                </c:pt>
                <c:pt idx="3">
                  <c:v>HYDRO 5 DRY SKIN 5 BLADE REFILL DRY 6CT</c:v>
                </c:pt>
                <c:pt idx="4">
                  <c:v>SCHICK QUATTRO FOR MEN 4 BLADE REFILL NORMAL 8CT</c:v>
                </c:pt>
                <c:pt idx="5">
                  <c:v>HARRY'S 5 BLADE REFILL NORMAL 4CT</c:v>
                </c:pt>
                <c:pt idx="6">
                  <c:v>HARRY'S 5 BLADE REFILL NORMAL 8CT</c:v>
                </c:pt>
                <c:pt idx="7">
                  <c:v>HARRY'S 5 BLADE REFILL NORMAL 12CT</c:v>
                </c:pt>
                <c:pt idx="8">
                  <c:v>HARRY'S ORANGE 5 BLADE RAZOR NORMAL 5CT</c:v>
                </c:pt>
                <c:pt idx="9">
                  <c:v>HARRY'S SILVER 5 BLADE RAZOR NORMAL 5CT</c:v>
                </c:pt>
                <c:pt idx="10">
                  <c:v>BARBASOL ULTRA 6 PLUS GRAY 6 BLADE RAZOR NORMAL 2CT</c:v>
                </c:pt>
                <c:pt idx="11">
                  <c:v>BARBASOL ULTRA 6 PLUS 6 BLADE REFILL NORMAL 4CT</c:v>
                </c:pt>
                <c:pt idx="12">
                  <c:v>GILLETTE FUSION 5 5 BLADE REFILL NORMAL 4CT</c:v>
                </c:pt>
                <c:pt idx="13">
                  <c:v>GILLETTE FUSION 5 5 BLADE REFILL NORMAL 16CT</c:v>
                </c:pt>
                <c:pt idx="14">
                  <c:v>GILLETTE MACH 3 3 BLADE REFILL NORMAL 4CT</c:v>
                </c:pt>
                <c:pt idx="15">
                  <c:v>GILLETTE FUSION 5 5 BLADE REFILL NORMAL 8CT</c:v>
                </c:pt>
                <c:pt idx="16">
                  <c:v>GILLETTE FUSION 5 5 BLADE REFILL NORMAL 12CT</c:v>
                </c:pt>
              </c:strCache>
            </c:strRef>
          </c:cat>
          <c:val>
            <c:numRef>
              <c:f>Sheet1!$B$2:$B$18</c:f>
              <c:numCache>
                <c:formatCode>General</c:formatCode>
                <c:ptCount val="17"/>
                <c:pt idx="0">
                  <c:v>15.22</c:v>
                </c:pt>
                <c:pt idx="1">
                  <c:v>10.59</c:v>
                </c:pt>
                <c:pt idx="2">
                  <c:v>26.91</c:v>
                </c:pt>
                <c:pt idx="3">
                  <c:v>16.88</c:v>
                </c:pt>
                <c:pt idx="4">
                  <c:v>13.58</c:v>
                </c:pt>
                <c:pt idx="5">
                  <c:v>10.19</c:v>
                </c:pt>
                <c:pt idx="6">
                  <c:v>17.2</c:v>
                </c:pt>
                <c:pt idx="7">
                  <c:v>24.64</c:v>
                </c:pt>
                <c:pt idx="8">
                  <c:v>16.3</c:v>
                </c:pt>
                <c:pt idx="9">
                  <c:v>18.77</c:v>
                </c:pt>
                <c:pt idx="10">
                  <c:v>9.79</c:v>
                </c:pt>
                <c:pt idx="11">
                  <c:v>9.7</c:v>
                </c:pt>
                <c:pt idx="12">
                  <c:v>19.45</c:v>
                </c:pt>
                <c:pt idx="13">
                  <c:v>42.25</c:v>
                </c:pt>
                <c:pt idx="14">
                  <c:v>13.06</c:v>
                </c:pt>
                <c:pt idx="15">
                  <c:v>32.12</c:v>
                </c:pt>
                <c:pt idx="16">
                  <c:v>42.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dLbl>
              <c:idx val="2"/>
              <c:tx>
                <c:rich>
                  <a:bodyPr/>
                  <a:lstStyle/>
                  <a:p>
                    <a:r>
                      <a:t>26.51</a:t>
                    </a:r>
                  </a:p>
                </c:rich>
              </c:tx>
              <c:showLegendKey val="0"/>
              <c:showVal val="1"/>
              <c:showCatName val="0"/>
              <c:showSerName val="0"/>
              <c:showPercent val="0"/>
              <c:showBubbleSize val="0"/>
            </c:dLbl>
            <c:dLbl>
              <c:idx val="3"/>
              <c:tx>
                <c:rich>
                  <a:bodyPr/>
                  <a:lstStyle/>
                  <a:p>
                    <a:r>
                      <a:t>16.85</a:t>
                    </a:r>
                  </a:p>
                </c:rich>
              </c:tx>
              <c:showLegendKey val="0"/>
              <c:showVal val="1"/>
              <c:showCatName val="0"/>
              <c:showSerName val="0"/>
              <c:showPercent val="0"/>
              <c:showBubbleSize val="0"/>
            </c:dLbl>
            <c:dLbl>
              <c:idx val="4"/>
              <c:tx>
                <c:rich>
                  <a:bodyPr/>
                  <a:lstStyle/>
                  <a:p>
                    <a:r>
                      <a:t>14.99</a:t>
                    </a:r>
                  </a:p>
                </c:rich>
              </c:tx>
              <c:showLegendKey val="0"/>
              <c:showVal val="1"/>
              <c:showCatName val="0"/>
              <c:showSerName val="0"/>
              <c:showPercent val="0"/>
              <c:showBubbleSize val="0"/>
            </c:dLbl>
            <c:dLbl>
              <c:idx val="5"/>
              <c:tx>
                <c:rich>
                  <a:bodyPr/>
                  <a:lstStyle/>
                  <a:p>
                    <a:r>
                      <a:t>9.97</a:t>
                    </a:r>
                  </a:p>
                </c:rich>
              </c:tx>
              <c:showLegendKey val="0"/>
              <c:showVal val="1"/>
              <c:showCatName val="0"/>
              <c:showSerName val="0"/>
              <c:showPercent val="0"/>
              <c:showBubbleSize val="0"/>
            </c:dLbl>
            <c:dLbl>
              <c:idx val="6"/>
              <c:tx>
                <c:rich>
                  <a:bodyPr/>
                  <a:lstStyle/>
                  <a:p>
                    <a:r>
                      <a:t>16.96</a:t>
                    </a:r>
                  </a:p>
                </c:rich>
              </c:tx>
              <c:showLegendKey val="0"/>
              <c:showVal val="1"/>
              <c:showCatName val="0"/>
              <c:showSerName val="0"/>
              <c:showPercent val="0"/>
              <c:showBubbleSize val="0"/>
            </c:dLbl>
            <c:dLbl>
              <c:idx val="7"/>
              <c:tx>
                <c:rich>
                  <a:bodyPr/>
                  <a:lstStyle/>
                  <a:p>
                    <a:r>
                      <a:t>23.97</a:t>
                    </a:r>
                  </a:p>
                </c:rich>
              </c:tx>
              <c:showLegendKey val="0"/>
              <c:showVal val="1"/>
              <c:showCatName val="0"/>
              <c:showSerName val="0"/>
              <c:showPercent val="0"/>
              <c:showBubbleSize val="0"/>
            </c:dLbl>
            <c:dLbl>
              <c:idx val="8"/>
              <c:tx>
                <c:rich>
                  <a:bodyPr/>
                  <a:lstStyle/>
                  <a:p>
                    <a:r>
                      <a:t>16.01</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18.42</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8.97</a:t>
                    </a:r>
                  </a:p>
                </c:rich>
              </c:tx>
              <c:showLegendKey val="0"/>
              <c:showVal val="1"/>
              <c:showCatName val="0"/>
              <c:showSerName val="0"/>
              <c:showPercent val="0"/>
              <c:showBubbleSize val="0"/>
            </c:dLbl>
            <c:dLbl>
              <c:idx val="16"/>
              <c:tx>
                <c:rich>
                  <a:bodyPr/>
                  <a:lstStyle/>
                  <a:p>
                    <a:r>
                      <a:t>8.97</a:t>
                    </a:r>
                  </a:p>
                </c:rich>
              </c:tx>
              <c:showLegendKey val="0"/>
              <c:showVal val="1"/>
              <c:showCatName val="0"/>
              <c:showSerName val="0"/>
              <c:showPercent val="0"/>
              <c:showBubbleSize val="0"/>
            </c:dLbl>
            <c:dLbl>
              <c:idx val="17"/>
              <c:tx>
                <c:rich>
                  <a:bodyPr/>
                  <a:lstStyle/>
                  <a:p>
                    <a:r>
                      <a:t>16.96</a:t>
                    </a:r>
                  </a:p>
                </c:rich>
              </c:tx>
              <c:showLegendKey val="0"/>
              <c:showVal val="1"/>
              <c:showCatName val="0"/>
              <c:showSerName val="0"/>
              <c:showPercent val="0"/>
              <c:showBubbleSize val="0"/>
            </c:dLbl>
            <c:dLbl>
              <c:idx val="18"/>
              <c:tx>
                <c:rich>
                  <a:bodyPr/>
                  <a:lstStyle/>
                  <a:p>
                    <a:r>
                      <a:t>9.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HYDRO 5 SENSITIVE 5 BLADE REFILL SENSITIVE 6CT</c:v>
                </c:pt>
                <c:pt idx="1">
                  <c:v>HYDRO 5 SENSITIVE 5 BLADE RAZOR SENSITIVE 3CT</c:v>
                </c:pt>
                <c:pt idx="2">
                  <c:v>HYDRO 5 SENSITIVE 5 BLADE REFILL SENSITIVE 12CT</c:v>
                </c:pt>
                <c:pt idx="3">
                  <c:v>CREMO 5 BLADE RAZOR NORMAL 2CT</c:v>
                </c:pt>
                <c:pt idx="4">
                  <c:v>CREMO 5 BLADE REFILL NORMAL 4CT</c:v>
                </c:pt>
                <c:pt idx="5">
                  <c:v>HARRY'S 5 BLADE REFILL NORMAL 4CT</c:v>
                </c:pt>
                <c:pt idx="6">
                  <c:v>HARRY'S 5 BLADE REFILL NORMAL 8CT</c:v>
                </c:pt>
                <c:pt idx="7">
                  <c:v>HARRY'S 5 BLADE REFILL NORMAL 12CT</c:v>
                </c:pt>
                <c:pt idx="8">
                  <c:v>HARRY'S ORANGE 5 BLADE RAZOR NORMAL 5CT</c:v>
                </c:pt>
                <c:pt idx="9">
                  <c:v>HARRY'S SURF BLUE 5 BLADE RAZOR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DOLLAR SHAVE CLUB 6 BLADE REFILL NORMAL 4CT</c:v>
                </c:pt>
                <c:pt idx="16">
                  <c:v>DOLLAR SHAVE CLUB BLACK 6 BLADE RAZOR NORMAL 2CT</c:v>
                </c:pt>
                <c:pt idx="17">
                  <c:v>DOLLAR SHAVE CLUB 6 BLADE REFILL NORMAL 8CT</c:v>
                </c:pt>
                <c:pt idx="18">
                  <c:v>DOLLAR SHAVE CLUB RED BLUE WHITE 6 BLADE RAZOR NORMAL 2CT</c:v>
                </c:pt>
              </c:strCache>
            </c:strRef>
          </c:cat>
          <c:val>
            <c:numRef>
              <c:f>Sheet1!$B$2:$B$20</c:f>
              <c:numCache>
                <c:formatCode>General</c:formatCode>
                <c:ptCount val="19"/>
                <c:pt idx="0">
                  <c:v>14.73</c:v>
                </c:pt>
                <c:pt idx="1">
                  <c:v>9.96</c:v>
                </c:pt>
                <c:pt idx="2">
                  <c:v>26.51</c:v>
                </c:pt>
                <c:pt idx="3">
                  <c:v>16.85</c:v>
                </c:pt>
                <c:pt idx="4">
                  <c:v>14.99</c:v>
                </c:pt>
                <c:pt idx="5">
                  <c:v>9.97</c:v>
                </c:pt>
                <c:pt idx="6">
                  <c:v>16.96</c:v>
                </c:pt>
                <c:pt idx="7">
                  <c:v>23.97</c:v>
                </c:pt>
                <c:pt idx="8">
                  <c:v>16.01</c:v>
                </c:pt>
                <c:pt idx="9">
                  <c:v>9.99</c:v>
                </c:pt>
                <c:pt idx="10">
                  <c:v>18.42</c:v>
                </c:pt>
                <c:pt idx="11">
                  <c:v>12.46</c:v>
                </c:pt>
                <c:pt idx="12">
                  <c:v>40.1</c:v>
                </c:pt>
                <c:pt idx="13">
                  <c:v>29.97</c:v>
                </c:pt>
                <c:pt idx="14">
                  <c:v>23.89</c:v>
                </c:pt>
                <c:pt idx="15">
                  <c:v>8.97</c:v>
                </c:pt>
                <c:pt idx="16">
                  <c:v>8.97</c:v>
                </c:pt>
                <c:pt idx="17">
                  <c:v>16.96</c:v>
                </c:pt>
                <c:pt idx="18">
                  <c:v>9.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7.29</a:t>
                    </a:r>
                  </a:p>
                </c:rich>
              </c:tx>
              <c:showLegendKey val="0"/>
              <c:showVal val="1"/>
              <c:showCatName val="0"/>
              <c:showSerName val="0"/>
              <c:showPercent val="0"/>
              <c:showBubbleSize val="0"/>
            </c:dLbl>
            <c:dLbl>
              <c:idx val="2"/>
              <c:tx>
                <c:rich>
                  <a:bodyPr/>
                  <a:lstStyle/>
                  <a:p>
                    <a:r>
                      <a:t>7.27</a:t>
                    </a:r>
                  </a:p>
                </c:rich>
              </c:tx>
              <c:showLegendKey val="0"/>
              <c:showVal val="1"/>
              <c:showCatName val="0"/>
              <c:showSerName val="0"/>
              <c:showPercent val="0"/>
              <c:showBubbleSize val="0"/>
            </c:dLbl>
            <c:dLbl>
              <c:idx val="3"/>
              <c:tx>
                <c:rich>
                  <a:bodyPr/>
                  <a:lstStyle/>
                  <a:p>
                    <a:r>
                      <a:t>11.92</a:t>
                    </a:r>
                  </a:p>
                </c:rich>
              </c:tx>
              <c:showLegendKey val="0"/>
              <c:showVal val="1"/>
              <c:showCatName val="0"/>
              <c:showSerName val="0"/>
              <c:showPercent val="0"/>
              <c:showBubbleSize val="0"/>
            </c:dLbl>
            <c:dLbl>
              <c:idx val="4"/>
              <c:tx>
                <c:rich>
                  <a:bodyPr/>
                  <a:lstStyle/>
                  <a:p>
                    <a:r>
                      <a:t>9.2</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3</a:t>
                    </a:r>
                  </a:p>
                </c:rich>
              </c:tx>
              <c:showLegendKey val="0"/>
              <c:showVal val="1"/>
              <c:showCatName val="0"/>
              <c:showSerName val="0"/>
              <c:showPercent val="0"/>
              <c:showBubbleSize val="0"/>
            </c:dLbl>
            <c:dLbl>
              <c:idx val="12"/>
              <c:tx>
                <c:rich>
                  <a:bodyPr/>
                  <a:lstStyle/>
                  <a:p>
                    <a:r>
                      <a:t>11.13</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strCache>
            </c:strRef>
          </c:cat>
          <c:val>
            <c:numRef>
              <c:f>Sheet1!$B$2:$B$16</c:f>
              <c:numCache>
                <c:formatCode>General</c:formatCode>
                <c:ptCount val="15"/>
                <c:pt idx="0">
                  <c:v>20.09</c:v>
                </c:pt>
                <c:pt idx="1">
                  <c:v>7.29</c:v>
                </c:pt>
                <c:pt idx="2">
                  <c:v>7.27</c:v>
                </c:pt>
                <c:pt idx="3">
                  <c:v>11.92</c:v>
                </c:pt>
                <c:pt idx="4">
                  <c:v>9.2</c:v>
                </c:pt>
                <c:pt idx="5">
                  <c:v>6.93</c:v>
                </c:pt>
                <c:pt idx="6">
                  <c:v>7.15</c:v>
                </c:pt>
                <c:pt idx="7">
                  <c:v>3.77</c:v>
                </c:pt>
                <c:pt idx="8">
                  <c:v>5.26</c:v>
                </c:pt>
                <c:pt idx="9">
                  <c:v>5.15</c:v>
                </c:pt>
                <c:pt idx="10">
                  <c:v>7.9</c:v>
                </c:pt>
                <c:pt idx="11">
                  <c:v>11.13</c:v>
                </c:pt>
                <c:pt idx="12">
                  <c:v>11.13</c:v>
                </c:pt>
                <c:pt idx="13">
                  <c:v>7.46</c:v>
                </c:pt>
                <c:pt idx="14">
                  <c:v>33.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4.71</a:t>
                    </a:r>
                  </a:p>
                </c:rich>
              </c:tx>
              <c:showLegendKey val="0"/>
              <c:showVal val="1"/>
              <c:showCatName val="0"/>
              <c:showSerName val="0"/>
              <c:showPercent val="0"/>
              <c:showBubbleSize val="0"/>
            </c:dLbl>
            <c:dLbl>
              <c:idx val="2"/>
              <c:tx>
                <c:rich>
                  <a:bodyPr/>
                  <a:lstStyle/>
                  <a:p>
                    <a:r>
                      <a:t>33.57</a:t>
                    </a:r>
                  </a:p>
                </c:rich>
              </c:tx>
              <c:showLegendKey val="0"/>
              <c:showVal val="1"/>
              <c:showCatName val="0"/>
              <c:showSerName val="0"/>
              <c:showPercent val="0"/>
              <c:showBubbleSize val="0"/>
            </c:dLbl>
            <c:dLbl>
              <c:idx val="3"/>
              <c:tx>
                <c:rich>
                  <a:bodyPr/>
                  <a:lstStyle/>
                  <a:p>
                    <a:r>
                      <a:t>23.98</a:t>
                    </a:r>
                  </a:p>
                </c:rich>
              </c:tx>
              <c:showLegendKey val="0"/>
              <c:showVal val="1"/>
              <c:showCatName val="0"/>
              <c:showSerName val="0"/>
              <c:showPercent val="0"/>
              <c:showBubbleSize val="0"/>
            </c:dLbl>
            <c:dLbl>
              <c:idx val="4"/>
              <c:tx>
                <c:rich>
                  <a:bodyPr/>
                  <a:lstStyle/>
                  <a:p>
                    <a:r>
                      <a:t>19.4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BLACK GREEN 3 BLADE DISPOSABLE SENSITIVE 20CT</c:v>
                </c:pt>
                <c:pt idx="1">
                  <c:v>SCHICK XTREME 3 SENSITIVE BLACK 3 BLADE DISPOSABLE SENSITIVE 20CT</c:v>
                </c:pt>
                <c:pt idx="2">
                  <c:v>GILLETTE SENSOR 2 PLUS PIVOT 2 BLADE DISPOSABLE NORMAL 52CT</c:v>
                </c:pt>
                <c:pt idx="3">
                  <c:v>GILLETTE SENSOR 3 SENSITIVE BLUE GREEN 3 BLADE DISPOSABLE SENSITIVE 24CT</c:v>
                </c:pt>
                <c:pt idx="4">
                  <c:v>BIC FLEX 5 BLACK WHITE 5 BLADE DISPOSABLE NORMAL 9CT</c:v>
                </c:pt>
              </c:strCache>
            </c:strRef>
          </c:cat>
          <c:val>
            <c:numRef>
              <c:f>Sheet1!$B$2:$B$6</c:f>
              <c:numCache>
                <c:formatCode>General</c:formatCode>
                <c:ptCount val="5"/>
                <c:pt idx="0">
                  <c:v>20.1</c:v>
                </c:pt>
                <c:pt idx="1">
                  <c:v>24.71</c:v>
                </c:pt>
                <c:pt idx="2">
                  <c:v>33.57</c:v>
                </c:pt>
                <c:pt idx="3">
                  <c:v>23.98</c:v>
                </c:pt>
                <c:pt idx="4">
                  <c:v>19.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showLegendKey val="0"/>
              <c:showVal val="1"/>
              <c:showCatName val="0"/>
              <c:showSerName val="0"/>
              <c:showPercent val="0"/>
              <c:showBubbleSize val="0"/>
            </c:dLbl>
            <c:dLbl>
              <c:idx val="1"/>
              <c:tx>
                <c:rich>
                  <a:bodyPr/>
                  <a:lstStyle/>
                  <a:p>
                    <a:r>
                      <a:t>11.02</a:t>
                    </a:r>
                  </a:p>
                </c:rich>
              </c:tx>
              <c:showLegendKey val="0"/>
              <c:showVal val="1"/>
              <c:showCatName val="0"/>
              <c:showSerName val="0"/>
              <c:showPercent val="0"/>
              <c:showBubbleSize val="0"/>
            </c:dLbl>
            <c:dLbl>
              <c:idx val="2"/>
              <c:tx>
                <c:rich>
                  <a:bodyPr/>
                  <a:lstStyle/>
                  <a:p>
                    <a:r>
                      <a:t>11.02</a:t>
                    </a:r>
                  </a:p>
                </c:rich>
              </c:tx>
              <c:showLegendKey val="0"/>
              <c:showVal val="1"/>
              <c:showCatName val="0"/>
              <c:showSerName val="0"/>
              <c:showPercent val="0"/>
              <c:showBubbleSize val="0"/>
            </c:dLbl>
            <c:dLbl>
              <c:idx val="3"/>
              <c:tx>
                <c:rich>
                  <a:bodyPr/>
                  <a:lstStyle/>
                  <a:p>
                    <a:r>
                      <a:t>6.53</a:t>
                    </a:r>
                  </a:p>
                </c:rich>
              </c:tx>
              <c:showLegendKey val="0"/>
              <c:showVal val="1"/>
              <c:showCatName val="0"/>
              <c:showSerName val="0"/>
              <c:showPercent val="0"/>
              <c:showBubbleSize val="0"/>
            </c:dLbl>
            <c:dLbl>
              <c:idx val="4"/>
              <c:tx>
                <c:rich>
                  <a:bodyPr/>
                  <a:lstStyle/>
                  <a:p>
                    <a:r>
                      <a:t>15.1</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5.49</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5.98</a:t>
                    </a:r>
                  </a:p>
                </c:rich>
              </c:tx>
              <c:showLegendKey val="0"/>
              <c:showVal val="1"/>
              <c:showCatName val="0"/>
              <c:showSerName val="0"/>
              <c:showPercent val="0"/>
              <c:showBubbleSize val="0"/>
            </c:dLbl>
            <c:dLbl>
              <c:idx val="13"/>
              <c:tx>
                <c:rich>
                  <a:bodyPr/>
                  <a:lstStyle/>
                  <a:p>
                    <a:r>
                      <a:t>3.97</a:t>
                    </a:r>
                  </a:p>
                </c:rich>
              </c:tx>
              <c:showLegendKey val="0"/>
              <c:showVal val="1"/>
              <c:showCatName val="0"/>
              <c:showSerName val="0"/>
              <c:showPercent val="0"/>
              <c:showBubbleSize val="0"/>
            </c:dLbl>
            <c:dLbl>
              <c:idx val="14"/>
              <c:tx>
                <c:rich>
                  <a:bodyPr/>
                  <a:lstStyle/>
                  <a:p>
                    <a:r>
                      <a:t>4.15</a:t>
                    </a:r>
                  </a:p>
                </c:rich>
              </c:tx>
              <c:showLegendKey val="0"/>
              <c:showVal val="1"/>
              <c:showCatName val="0"/>
              <c:showSerName val="0"/>
              <c:showPercent val="0"/>
              <c:showBubbleSize val="0"/>
            </c:dLbl>
            <c:dLbl>
              <c:idx val="15"/>
              <c:tx>
                <c:rich>
                  <a:bodyPr/>
                  <a:lstStyle/>
                  <a:p>
                    <a:r>
                      <a:t>9.98</a:t>
                    </a:r>
                  </a:p>
                </c:rich>
              </c:tx>
              <c:showLegendKey val="0"/>
              <c:showVal val="1"/>
              <c:showCatName val="0"/>
              <c:showSerName val="0"/>
              <c:showPercent val="0"/>
              <c:showBubbleSize val="0"/>
            </c:dLbl>
            <c:dLbl>
              <c:idx val="16"/>
              <c:tx>
                <c:rich>
                  <a:bodyPr/>
                  <a:lstStyle/>
                  <a:p>
                    <a:r>
                      <a:t>6.97</a:t>
                    </a:r>
                  </a:p>
                </c:rich>
              </c:tx>
              <c:showLegendKey val="0"/>
              <c:showVal val="1"/>
              <c:showCatName val="0"/>
              <c:showSerName val="0"/>
              <c:showPercent val="0"/>
              <c:showBubbleSize val="0"/>
            </c:dLbl>
            <c:dLbl>
              <c:idx val="17"/>
              <c:tx>
                <c:rich>
                  <a:bodyPr/>
                  <a:lstStyle/>
                  <a:p>
                    <a:r>
                      <a:t>9.98</a:t>
                    </a:r>
                  </a:p>
                </c:rich>
              </c:tx>
              <c:showLegendKey val="0"/>
              <c:showVal val="1"/>
              <c:showCatName val="0"/>
              <c:showSerName val="0"/>
              <c:showPercent val="0"/>
              <c:showBubbleSize val="0"/>
            </c:dLbl>
            <c:dLbl>
              <c:idx val="18"/>
              <c:tx>
                <c:rich>
                  <a:bodyPr/>
                  <a:lstStyle/>
                  <a:p>
                    <a:r>
                      <a:t>15.0</a:t>
                    </a:r>
                  </a:p>
                </c:rich>
              </c:tx>
              <c:showLegendKey val="0"/>
              <c:showVal val="1"/>
              <c:showCatName val="0"/>
              <c:showSerName val="0"/>
              <c:showPercent val="0"/>
              <c:showBubbleSize val="0"/>
            </c:dLbl>
            <c:dLbl>
              <c:idx val="19"/>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EQUATE CALIBER 5 5 BLADE DISPOSABLE NORMAL 3CT</c:v>
                </c:pt>
                <c:pt idx="11">
                  <c:v>EQUATE TB (TWIN BLADE) BLUE 2 BLADE DISPOSABLE NORMAL 12CT</c:v>
                </c:pt>
                <c:pt idx="12">
                  <c:v>EQUATE SPEED 3 SENSITIVE GREEN 3 BLADE DISPOSABLE SENSITIVE 8CT</c:v>
                </c:pt>
                <c:pt idx="13">
                  <c:v>EQUATE SPEED 3 SENSITIVE GREEN 3 BLADE DISPOSABLE SENSITIVE 4CT</c:v>
                </c:pt>
                <c:pt idx="14">
                  <c:v>EQUATE CALIBER 3 3 BLADE DISPOSABLE NORMAL 3CT</c:v>
                </c:pt>
                <c:pt idx="15">
                  <c:v>GILLETTE SENSOR 2 FIXED 2 BLADE DISPOSABLE NORMAL 12CT</c:v>
                </c:pt>
                <c:pt idx="16">
                  <c:v>GILLETTE MACH 3 MULTI COLOR 3 BLADE DISPOSABLE SENSITIVE 3CT</c:v>
                </c:pt>
                <c:pt idx="17">
                  <c:v>GILLETTE SENSOR 2 PLUS PIVOT 2 BLADE DISPOSABLE NORMAL 10CT</c:v>
                </c:pt>
                <c:pt idx="18">
                  <c:v>GILLETTE SENSOR 2 FIXED 2 BLADE DISPOSABLE NORMAL 18CT</c:v>
                </c:pt>
                <c:pt idx="19">
                  <c:v>GILLETTE SENSOR 3 SENSITIVE GREEN 3 BLADE DISPOSABLE SENSITIVE 4CT</c:v>
                </c:pt>
              </c:strCache>
            </c:strRef>
          </c:cat>
          <c:val>
            <c:numRef>
              <c:f>Sheet1!$B$2:$B$21</c:f>
              <c:numCache>
                <c:formatCode>General</c:formatCode>
                <c:ptCount val="20"/>
                <c:pt idx="0">
                  <c:v>6.5</c:v>
                </c:pt>
                <c:pt idx="1">
                  <c:v>11.02</c:v>
                </c:pt>
                <c:pt idx="2">
                  <c:v>11.02</c:v>
                </c:pt>
                <c:pt idx="3">
                  <c:v>6.53</c:v>
                </c:pt>
                <c:pt idx="4">
                  <c:v>15.1</c:v>
                </c:pt>
                <c:pt idx="5">
                  <c:v>3.43</c:v>
                </c:pt>
                <c:pt idx="6">
                  <c:v>6.94</c:v>
                </c:pt>
                <c:pt idx="7">
                  <c:v>10.92</c:v>
                </c:pt>
                <c:pt idx="8">
                  <c:v>3.98</c:v>
                </c:pt>
                <c:pt idx="9">
                  <c:v>6.45</c:v>
                </c:pt>
                <c:pt idx="10">
                  <c:v>5.49</c:v>
                </c:pt>
                <c:pt idx="11">
                  <c:v>2.18</c:v>
                </c:pt>
                <c:pt idx="12">
                  <c:v>5.98</c:v>
                </c:pt>
                <c:pt idx="13">
                  <c:v>3.97</c:v>
                </c:pt>
                <c:pt idx="14">
                  <c:v>4.15</c:v>
                </c:pt>
                <c:pt idx="15">
                  <c:v>9.98</c:v>
                </c:pt>
                <c:pt idx="16">
                  <c:v>6.97</c:v>
                </c:pt>
                <c:pt idx="17">
                  <c:v>9.98</c:v>
                </c:pt>
                <c:pt idx="18">
                  <c:v>15.0</c:v>
                </c:pt>
                <c:pt idx="19">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9</a:t>
                    </a:r>
                  </a:p>
                </c:rich>
              </c:tx>
              <c:showLegendKey val="0"/>
              <c:showVal val="1"/>
              <c:showCatName val="0"/>
              <c:showSerName val="0"/>
              <c:showPercent val="0"/>
              <c:showBubbleSize val="0"/>
            </c:dLbl>
            <c:dLbl>
              <c:idx val="1"/>
              <c:tx>
                <c:rich>
                  <a:bodyPr/>
                  <a:lstStyle/>
                  <a:p>
                    <a:r>
                      <a:t>11.67</a:t>
                    </a:r>
                  </a:p>
                </c:rich>
              </c:tx>
              <c:showLegendKey val="0"/>
              <c:showVal val="1"/>
              <c:showCatName val="0"/>
              <c:showSerName val="0"/>
              <c:showPercent val="0"/>
              <c:showBubbleSize val="0"/>
            </c:dLbl>
            <c:dLbl>
              <c:idx val="2"/>
              <c:tx>
                <c:rich>
                  <a:bodyPr/>
                  <a:lstStyle/>
                  <a:p>
                    <a:r>
                      <a:t>38.77</a:t>
                    </a:r>
                  </a:p>
                </c:rich>
              </c:tx>
              <c:showLegendKey val="0"/>
              <c:showVal val="1"/>
              <c:showCatName val="0"/>
              <c:showSerName val="0"/>
              <c:showPercent val="0"/>
              <c:showBubbleSize val="0"/>
            </c:dLbl>
            <c:dLbl>
              <c:idx val="3"/>
              <c:tx>
                <c:rich>
                  <a:bodyPr/>
                  <a:lstStyle/>
                  <a:p>
                    <a:r>
                      <a:t>12.0</a:t>
                    </a:r>
                  </a:p>
                </c:rich>
              </c:tx>
              <c:showLegendKey val="0"/>
              <c:showVal val="1"/>
              <c:showCatName val="0"/>
              <c:showSerName val="0"/>
              <c:showPercent val="0"/>
              <c:showBubbleSize val="0"/>
            </c:dLbl>
            <c:dLbl>
              <c:idx val="4"/>
              <c:tx>
                <c:rich>
                  <a:bodyPr/>
                  <a:lstStyle/>
                  <a:p>
                    <a:r>
                      <a:t>12.71</a:t>
                    </a:r>
                  </a:p>
                </c:rich>
              </c:tx>
              <c:showLegendKey val="0"/>
              <c:showVal val="1"/>
              <c:showCatName val="0"/>
              <c:showSerName val="0"/>
              <c:showPercent val="0"/>
              <c:showBubbleSize val="0"/>
            </c:dLbl>
            <c:dLbl>
              <c:idx val="5"/>
              <c:tx>
                <c:rich>
                  <a:bodyPr/>
                  <a:lstStyle/>
                  <a:p>
                    <a:r>
                      <a:t>16.3</a:t>
                    </a:r>
                  </a:p>
                </c:rich>
              </c:tx>
              <c:showLegendKey val="0"/>
              <c:showVal val="1"/>
              <c:showCatName val="0"/>
              <c:showSerName val="0"/>
              <c:showPercent val="0"/>
              <c:showBubbleSize val="0"/>
            </c:dLbl>
            <c:dLbl>
              <c:idx val="6"/>
              <c:tx>
                <c:rich>
                  <a:bodyPr/>
                  <a:lstStyle/>
                  <a:p>
                    <a:r>
                      <a:t>18.77</a:t>
                    </a:r>
                  </a:p>
                </c:rich>
              </c:tx>
              <c:showLegendKey val="0"/>
              <c:showVal val="1"/>
              <c:showCatName val="0"/>
              <c:showSerName val="0"/>
              <c:showPercent val="0"/>
              <c:showBubbleSize val="0"/>
            </c:dLbl>
            <c:dLbl>
              <c:idx val="7"/>
              <c:tx>
                <c:rich>
                  <a:bodyPr/>
                  <a:lstStyle/>
                  <a:p>
                    <a:r>
                      <a:t>10.63</a:t>
                    </a:r>
                  </a:p>
                </c:rich>
              </c:tx>
              <c:showLegendKey val="0"/>
              <c:showVal val="1"/>
              <c:showCatName val="0"/>
              <c:showSerName val="0"/>
              <c:showPercent val="0"/>
              <c:showBubbleSize val="0"/>
            </c:dLbl>
            <c:dLbl>
              <c:idx val="8"/>
              <c:tx>
                <c:rich>
                  <a:bodyPr/>
                  <a:lstStyle/>
                  <a:p>
                    <a:r>
                      <a:t>12.12</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9.79</a:t>
                    </a:r>
                  </a:p>
                </c:rich>
              </c:tx>
              <c:showLegendKey val="0"/>
              <c:showVal val="1"/>
              <c:showCatName val="0"/>
              <c:showSerName val="0"/>
              <c:showPercent val="0"/>
              <c:showBubbleSize val="0"/>
            </c:dLbl>
            <c:dLbl>
              <c:idx val="11"/>
              <c:tx>
                <c:rich>
                  <a:bodyPr/>
                  <a:lstStyle/>
                  <a:p>
                    <a:r>
                      <a:t>13.7</a:t>
                    </a:r>
                  </a:p>
                </c:rich>
              </c:tx>
              <c:showLegendKey val="0"/>
              <c:showVal val="1"/>
              <c:showCatName val="0"/>
              <c:showSerName val="0"/>
              <c:showPercent val="0"/>
              <c:showBubbleSize val="0"/>
            </c:dLbl>
            <c:dLbl>
              <c:idx val="12"/>
              <c:tx>
                <c:rich>
                  <a:bodyPr/>
                  <a:lstStyle/>
                  <a:p>
                    <a:r>
                      <a:t>24.45</a:t>
                    </a:r>
                  </a:p>
                </c:rich>
              </c:tx>
              <c:showLegendKey val="0"/>
              <c:showVal val="1"/>
              <c:showCatName val="0"/>
              <c:showSerName val="0"/>
              <c:showPercent val="0"/>
              <c:showBubbleSize val="0"/>
            </c:dLbl>
            <c:dLbl>
              <c:idx val="13"/>
              <c:tx>
                <c:rich>
                  <a:bodyPr/>
                  <a:lstStyle/>
                  <a:p>
                    <a:r>
                      <a:t>21.35</a:t>
                    </a:r>
                  </a:p>
                </c:rich>
              </c:tx>
              <c:showLegendKey val="0"/>
              <c:showVal val="1"/>
              <c:showCatName val="0"/>
              <c:showSerName val="0"/>
              <c:showPercent val="0"/>
              <c:showBubbleSize val="0"/>
            </c:dLbl>
            <c:dLbl>
              <c:idx val="14"/>
              <c:tx>
                <c:rich>
                  <a:bodyPr/>
                  <a:lstStyle/>
                  <a:p>
                    <a:r>
                      <a:t>10.38</a:t>
                    </a:r>
                  </a:p>
                </c:rich>
              </c:tx>
              <c:showLegendKey val="0"/>
              <c:showVal val="1"/>
              <c:showCatName val="0"/>
              <c:showSerName val="0"/>
              <c:showPercent val="0"/>
              <c:showBubbleSize val="0"/>
            </c:dLbl>
            <c:dLbl>
              <c:idx val="15"/>
              <c:tx>
                <c:rich>
                  <a:bodyPr/>
                  <a:lstStyle/>
                  <a:p>
                    <a:r>
                      <a:t>12.3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YDRO 5 SENSITIVE 5 BLADE RAZOR SENSITIVE 3CT</c:v>
                </c:pt>
                <c:pt idx="1">
                  <c:v>HYDRO 5 DRY SKIN 5 BLADE RAZOR DRY 3CT</c:v>
                </c:pt>
                <c:pt idx="2">
                  <c:v>HYDRO 5 SENSITIVE 5 BLADE RAZOR SENSITIVE 17CT</c:v>
                </c:pt>
                <c:pt idx="3">
                  <c:v>SCHICK QUATTRO FOR MEN 4 BLADE RAZOR NORMAL 4CT</c:v>
                </c:pt>
                <c:pt idx="4">
                  <c:v>SCHICK HYDRO 3 SENSITIVE 3 BLADE RAZOR SENSITIVE 4CT</c:v>
                </c:pt>
                <c:pt idx="5">
                  <c:v>HARRY'S ORANGE 5 BLADE RAZOR NORMAL 5CT</c:v>
                </c:pt>
                <c:pt idx="6">
                  <c:v>HARRY'S SILVER 5 BLADE RAZOR NORMAL 5CT</c:v>
                </c:pt>
                <c:pt idx="7">
                  <c:v>HARRY'S NAVY BLUE 5 BLADE RAZOR NORMAL 2CT</c:v>
                </c:pt>
                <c:pt idx="8">
                  <c:v>HARRY'S SILVER 5 BLADE RAZOR NORMAL 2CT</c:v>
                </c:pt>
                <c:pt idx="9">
                  <c:v>HARRY'S SURF BLUE 5 BLADE RAZOR NORMAL 2CT</c:v>
                </c:pt>
                <c:pt idx="10">
                  <c:v>BARBASOL ULTRA 6 PLUS GRAY 6 BLADE RAZOR NORMAL 2CT</c:v>
                </c:pt>
                <c:pt idx="11">
                  <c:v>GILLETTE FUSION 5 5 BLADE RAZOR NORMAL 2CT</c:v>
                </c:pt>
                <c:pt idx="12">
                  <c:v>GILLETTE FUSION 5 5 BLADE RAZOR NORMAL 5CT</c:v>
                </c:pt>
                <c:pt idx="13">
                  <c:v>GILLETTE MACH 3 3 BLADE RAZOR NORMAL 6CT</c:v>
                </c:pt>
                <c:pt idx="14">
                  <c:v>GILLETTE MACH 3 3 BLADE RAZOR NORMAL 2CT</c:v>
                </c:pt>
                <c:pt idx="15">
                  <c:v>GILLETTE FUSION 5 5 BLADE RAZOR NORMAL 1CT</c:v>
                </c:pt>
              </c:strCache>
            </c:strRef>
          </c:cat>
          <c:val>
            <c:numRef>
              <c:f>Sheet1!$B$2:$B$17</c:f>
              <c:numCache>
                <c:formatCode>General</c:formatCode>
                <c:ptCount val="16"/>
                <c:pt idx="0">
                  <c:v>10.59</c:v>
                </c:pt>
                <c:pt idx="1">
                  <c:v>11.67</c:v>
                </c:pt>
                <c:pt idx="2">
                  <c:v>38.77</c:v>
                </c:pt>
                <c:pt idx="3">
                  <c:v>12.0</c:v>
                </c:pt>
                <c:pt idx="4">
                  <c:v>12.71</c:v>
                </c:pt>
                <c:pt idx="5">
                  <c:v>16.3</c:v>
                </c:pt>
                <c:pt idx="6">
                  <c:v>18.77</c:v>
                </c:pt>
                <c:pt idx="7">
                  <c:v>10.63</c:v>
                </c:pt>
                <c:pt idx="8">
                  <c:v>12.12</c:v>
                </c:pt>
                <c:pt idx="9">
                  <c:v>9.99</c:v>
                </c:pt>
                <c:pt idx="10">
                  <c:v>9.79</c:v>
                </c:pt>
                <c:pt idx="11">
                  <c:v>13.7</c:v>
                </c:pt>
                <c:pt idx="12">
                  <c:v>24.45</c:v>
                </c:pt>
                <c:pt idx="13">
                  <c:v>21.35</c:v>
                </c:pt>
                <c:pt idx="14">
                  <c:v>10.38</c:v>
                </c:pt>
                <c:pt idx="15">
                  <c:v>12.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4.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6</a:t>
                    </a:r>
                  </a:p>
                </c:rich>
              </c:tx>
              <c:showLegendKey val="0"/>
              <c:showVal val="1"/>
              <c:showCatName val="0"/>
              <c:showSerName val="0"/>
              <c:showPercent val="0"/>
              <c:showBubbleSize val="0"/>
            </c:dLbl>
            <c:dLbl>
              <c:idx val="1"/>
              <c:tx>
                <c:rich>
                  <a:bodyPr/>
                  <a:lstStyle/>
                  <a:p>
                    <a:r>
                      <a:t>16.85</a:t>
                    </a:r>
                  </a:p>
                </c:rich>
              </c:tx>
              <c:showLegendKey val="0"/>
              <c:showVal val="1"/>
              <c:showCatName val="0"/>
              <c:showSerName val="0"/>
              <c:showPercent val="0"/>
              <c:showBubbleSize val="0"/>
            </c:dLbl>
            <c:dLbl>
              <c:idx val="2"/>
              <c:tx>
                <c:rich>
                  <a:bodyPr/>
                  <a:lstStyle/>
                  <a:p>
                    <a:r>
                      <a:t>9.99</a:t>
                    </a:r>
                  </a:p>
                </c:rich>
              </c:tx>
              <c:showLegendKey val="0"/>
              <c:showVal val="1"/>
              <c:showCatName val="0"/>
              <c:showSerName val="0"/>
              <c:showPercent val="0"/>
              <c:showBubbleSize val="0"/>
            </c:dLbl>
            <c:dLbl>
              <c:idx val="3"/>
              <c:tx>
                <c:rich>
                  <a:bodyPr/>
                  <a:lstStyle/>
                  <a:p>
                    <a:r>
                      <a:t>9.94</a:t>
                    </a:r>
                  </a:p>
                </c:rich>
              </c:tx>
              <c:showLegendKey val="0"/>
              <c:showVal val="1"/>
              <c:showCatName val="0"/>
              <c:showSerName val="0"/>
              <c:showPercent val="0"/>
              <c:showBubbleSize val="0"/>
            </c:dLbl>
            <c:dLbl>
              <c:idx val="4"/>
              <c:tx>
                <c:rich>
                  <a:bodyPr/>
                  <a:lstStyle/>
                  <a:p>
                    <a:r>
                      <a:t>16.01</a:t>
                    </a:r>
                  </a:p>
                </c:rich>
              </c:tx>
              <c:showLegendKey val="0"/>
              <c:showVal val="1"/>
              <c:showCatName val="0"/>
              <c:showSerName val="0"/>
              <c:showPercent val="0"/>
              <c:showBubbleSize val="0"/>
            </c:dLbl>
            <c:dLbl>
              <c:idx val="5"/>
              <c:tx>
                <c:rich>
                  <a:bodyPr/>
                  <a:lstStyle/>
                  <a:p>
                    <a:r>
                      <a:t>9.99</a:t>
                    </a:r>
                  </a:p>
                </c:rich>
              </c:tx>
              <c:showLegendKey val="0"/>
              <c:showVal val="1"/>
              <c:showCatName val="0"/>
              <c:showSerName val="0"/>
              <c:showPercent val="0"/>
              <c:showBubbleSize val="0"/>
            </c:dLbl>
            <c:dLbl>
              <c:idx val="6"/>
              <c:tx>
                <c:rich>
                  <a:bodyPr/>
                  <a:lstStyle/>
                  <a:p>
                    <a:r>
                      <a:t>17.92</a:t>
                    </a:r>
                  </a:p>
                </c:rich>
              </c:tx>
              <c:showLegendKey val="0"/>
              <c:showVal val="1"/>
              <c:showCatName val="0"/>
              <c:showSerName val="0"/>
              <c:showPercent val="0"/>
              <c:showBubbleSize val="0"/>
            </c:dLbl>
            <c:dLbl>
              <c:idx val="7"/>
              <c:tx>
                <c:rich>
                  <a:bodyPr/>
                  <a:lstStyle/>
                  <a:p>
                    <a:r>
                      <a:t>11.97</a:t>
                    </a:r>
                  </a:p>
                </c:rich>
              </c:tx>
              <c:showLegendKey val="0"/>
              <c:showVal val="1"/>
              <c:showCatName val="0"/>
              <c:showSerName val="0"/>
              <c:showPercent val="0"/>
              <c:showBubbleSize val="0"/>
            </c:dLbl>
            <c:dLbl>
              <c:idx val="8"/>
              <c:tx>
                <c:rich>
                  <a:bodyPr/>
                  <a:lstStyle/>
                  <a:p>
                    <a:r>
                      <a:t>14.99</a:t>
                    </a:r>
                  </a:p>
                </c:rich>
              </c:tx>
              <c:showLegendKey val="0"/>
              <c:showVal val="1"/>
              <c:showCatName val="0"/>
              <c:showSerName val="0"/>
              <c:showPercent val="0"/>
              <c:showBubbleSize val="0"/>
            </c:dLbl>
            <c:dLbl>
              <c:idx val="9"/>
              <c:tx>
                <c:rich>
                  <a:bodyPr/>
                  <a:lstStyle/>
                  <a:p>
                    <a:r>
                      <a:t>23.89</a:t>
                    </a:r>
                  </a:p>
                </c:rich>
              </c:tx>
              <c:showLegendKey val="0"/>
              <c:showVal val="1"/>
              <c:showCatName val="0"/>
              <c:showSerName val="0"/>
              <c:showPercent val="0"/>
              <c:showBubbleSize val="0"/>
            </c:dLbl>
            <c:dLbl>
              <c:idx val="10"/>
              <c:tx>
                <c:rich>
                  <a:bodyPr/>
                  <a:lstStyle/>
                  <a:p>
                    <a:r>
                      <a:t>13.47</a:t>
                    </a:r>
                  </a:p>
                </c:rich>
              </c:tx>
              <c:showLegendKey val="0"/>
              <c:showVal val="1"/>
              <c:showCatName val="0"/>
              <c:showSerName val="0"/>
              <c:showPercent val="0"/>
              <c:showBubbleSize val="0"/>
            </c:dLbl>
            <c:dLbl>
              <c:idx val="11"/>
              <c:tx>
                <c:rich>
                  <a:bodyPr/>
                  <a:lstStyle/>
                  <a:p>
                    <a:r>
                      <a:t>20.81</a:t>
                    </a:r>
                  </a:p>
                </c:rich>
              </c:tx>
              <c:showLegendKey val="0"/>
              <c:showVal val="1"/>
              <c:showCatName val="0"/>
              <c:showSerName val="0"/>
              <c:showPercent val="0"/>
              <c:showBubbleSize val="0"/>
            </c:dLbl>
            <c:dLbl>
              <c:idx val="12"/>
              <c:tx>
                <c:rich>
                  <a:bodyPr/>
                  <a:lstStyle/>
                  <a:p>
                    <a:r>
                      <a:t>10.12</a:t>
                    </a:r>
                  </a:p>
                </c:rich>
              </c:tx>
              <c:showLegendKey val="0"/>
              <c:showVal val="1"/>
              <c:showCatName val="0"/>
              <c:showSerName val="0"/>
              <c:showPercent val="0"/>
              <c:showBubbleSize val="0"/>
            </c:dLbl>
            <c:dLbl>
              <c:idx val="13"/>
              <c:tx>
                <c:rich>
                  <a:bodyPr/>
                  <a:lstStyle/>
                  <a:p>
                    <a:r>
                      <a:t>29.18</a:t>
                    </a:r>
                  </a:p>
                </c:rich>
              </c:tx>
              <c:showLegendKey val="0"/>
              <c:showVal val="1"/>
              <c:showCatName val="0"/>
              <c:showSerName val="0"/>
              <c:showPercent val="0"/>
              <c:showBubbleSize val="0"/>
            </c:dLbl>
            <c:dLbl>
              <c:idx val="14"/>
              <c:tx>
                <c:rich>
                  <a:bodyPr/>
                  <a:lstStyle/>
                  <a:p>
                    <a:r>
                      <a:t>8.97</a:t>
                    </a:r>
                  </a:p>
                </c:rich>
              </c:tx>
              <c:showLegendKey val="0"/>
              <c:showVal val="1"/>
              <c:showCatName val="0"/>
              <c:showSerName val="0"/>
              <c:showPercent val="0"/>
              <c:showBubbleSize val="0"/>
            </c:dLbl>
            <c:dLbl>
              <c:idx val="15"/>
              <c:tx>
                <c:rich>
                  <a:bodyPr/>
                  <a:lstStyle/>
                  <a:p>
                    <a:r>
                      <a:t>9.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YDRO 5 SENSITIVE 5 BLADE RAZOR SENSITIVE 3CT</c:v>
                </c:pt>
                <c:pt idx="1">
                  <c:v>CREMO 5 BLADE RAZOR NORMAL 2CT</c:v>
                </c:pt>
                <c:pt idx="2">
                  <c:v>HYDRO 5 SENSITIVE GRAY HOLIDAY GIFT PACK 5 BLADE RAZOR SENSITIVE 3CT</c:v>
                </c:pt>
                <c:pt idx="3">
                  <c:v>SCHICK HYDRO 3 SENSITIVE 3 BLADE RAZOR SENSITIVE 4CT</c:v>
                </c:pt>
                <c:pt idx="4">
                  <c:v>HARRY'S ORANGE 5 BLADE RAZOR NORMAL 5CT</c:v>
                </c:pt>
                <c:pt idx="5">
                  <c:v>HARRY'S SURF BLUE 5 BLADE RAZOR NORMAL 2CT</c:v>
                </c:pt>
                <c:pt idx="6">
                  <c:v>HARRY'S SILVER 5 BLADE RAZOR NORMAL 5CT</c:v>
                </c:pt>
                <c:pt idx="7">
                  <c:v>HARRY'S SILVER 5 BLADE RAZOR NORMAL 2CT</c:v>
                </c:pt>
                <c:pt idx="8">
                  <c:v>HARRY'S CRAFT HANDLE SILVER 5 BLADE RAZOR NORMAL 2CT</c:v>
                </c:pt>
                <c:pt idx="9">
                  <c:v>GILLETTE FUSION 5 5 BLADE RAZOR NORMAL 5CT</c:v>
                </c:pt>
                <c:pt idx="10">
                  <c:v>GILLETTE FUSION 5 5 BLADE RAZOR NORMAL 2CT</c:v>
                </c:pt>
                <c:pt idx="11">
                  <c:v>GILLETTE MACH 3 3 BLADE RAZOR NORMAL 6CT</c:v>
                </c:pt>
                <c:pt idx="12">
                  <c:v>GILLETTE MACH 3 3 BLADE RAZOR NORMAL 2CT</c:v>
                </c:pt>
                <c:pt idx="13">
                  <c:v>GILLETTE FUSION 5 5 BLADE RAZOR NORMAL 7CT</c:v>
                </c:pt>
                <c:pt idx="14">
                  <c:v>DOLLAR SHAVE CLUB BLACK 6 BLADE RAZOR NORMAL 2CT</c:v>
                </c:pt>
                <c:pt idx="15">
                  <c:v>DOLLAR SHAVE CLUB RED BLUE WHITE 6 BLADE RAZOR NORMAL 2CT</c:v>
                </c:pt>
              </c:strCache>
            </c:strRef>
          </c:cat>
          <c:val>
            <c:numRef>
              <c:f>Sheet1!$B$2:$B$17</c:f>
              <c:numCache>
                <c:formatCode>General</c:formatCode>
                <c:ptCount val="16"/>
                <c:pt idx="0">
                  <c:v>9.96</c:v>
                </c:pt>
                <c:pt idx="1">
                  <c:v>16.85</c:v>
                </c:pt>
                <c:pt idx="2">
                  <c:v>9.99</c:v>
                </c:pt>
                <c:pt idx="3">
                  <c:v>9.94</c:v>
                </c:pt>
                <c:pt idx="4">
                  <c:v>16.01</c:v>
                </c:pt>
                <c:pt idx="5">
                  <c:v>9.99</c:v>
                </c:pt>
                <c:pt idx="6">
                  <c:v>17.92</c:v>
                </c:pt>
                <c:pt idx="7">
                  <c:v>11.97</c:v>
                </c:pt>
                <c:pt idx="8">
                  <c:v>14.99</c:v>
                </c:pt>
                <c:pt idx="9">
                  <c:v>23.89</c:v>
                </c:pt>
                <c:pt idx="10">
                  <c:v>13.47</c:v>
                </c:pt>
                <c:pt idx="11">
                  <c:v>20.81</c:v>
                </c:pt>
                <c:pt idx="12">
                  <c:v>10.12</c:v>
                </c:pt>
                <c:pt idx="13">
                  <c:v>29.18</c:v>
                </c:pt>
                <c:pt idx="14">
                  <c:v>8.97</c:v>
                </c:pt>
                <c:pt idx="15">
                  <c:v>9.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26.91</a:t>
                    </a:r>
                  </a:p>
                </c:rich>
              </c:tx>
              <c:showLegendKey val="0"/>
              <c:showVal val="1"/>
              <c:showCatName val="0"/>
              <c:showSerName val="0"/>
              <c:showPercent val="0"/>
              <c:showBubbleSize val="0"/>
            </c:dLbl>
            <c:dLbl>
              <c:idx val="2"/>
              <c:tx>
                <c:rich>
                  <a:bodyPr/>
                  <a:lstStyle/>
                  <a:p>
                    <a:r>
                      <a:t>16.88</a:t>
                    </a:r>
                  </a:p>
                </c:rich>
              </c:tx>
              <c:showLegendKey val="0"/>
              <c:showVal val="1"/>
              <c:showCatName val="0"/>
              <c:showSerName val="0"/>
              <c:showPercent val="0"/>
              <c:showBubbleSize val="0"/>
            </c:dLbl>
            <c:dLbl>
              <c:idx val="3"/>
              <c:tx>
                <c:rich>
                  <a:bodyPr/>
                  <a:lstStyle/>
                  <a:p>
                    <a:r>
                      <a:t>13.58</a:t>
                    </a:r>
                  </a:p>
                </c:rich>
              </c:tx>
              <c:showLegendKey val="0"/>
              <c:showVal val="1"/>
              <c:showCatName val="0"/>
              <c:showSerName val="0"/>
              <c:showPercent val="0"/>
              <c:showBubbleSize val="0"/>
            </c:dLbl>
            <c:dLbl>
              <c:idx val="4"/>
              <c:tx>
                <c:rich>
                  <a:bodyPr/>
                  <a:lstStyle/>
                  <a:p>
                    <a:r>
                      <a:t>23.94</a:t>
                    </a:r>
                  </a:p>
                </c:rich>
              </c:tx>
              <c:showLegendKey val="0"/>
              <c:showVal val="1"/>
              <c:showCatName val="0"/>
              <c:showSerName val="0"/>
              <c:showPercent val="0"/>
              <c:showBubbleSize val="0"/>
            </c:dLbl>
            <c:dLbl>
              <c:idx val="5"/>
              <c:tx>
                <c:rich>
                  <a:bodyPr/>
                  <a:lstStyle/>
                  <a:p>
                    <a:r>
                      <a:t>10.19</a:t>
                    </a:r>
                  </a:p>
                </c:rich>
              </c:tx>
              <c:showLegendKey val="0"/>
              <c:showVal val="1"/>
              <c:showCatName val="0"/>
              <c:showSerName val="0"/>
              <c:showPercent val="0"/>
              <c:showBubbleSize val="0"/>
            </c:dLbl>
            <c:dLbl>
              <c:idx val="6"/>
              <c:tx>
                <c:rich>
                  <a:bodyPr/>
                  <a:lstStyle/>
                  <a:p>
                    <a:r>
                      <a:t>17.2</a:t>
                    </a:r>
                  </a:p>
                </c:rich>
              </c:tx>
              <c:showLegendKey val="0"/>
              <c:showVal val="1"/>
              <c:showCatName val="0"/>
              <c:showSerName val="0"/>
              <c:showPercent val="0"/>
              <c:showBubbleSize val="0"/>
            </c:dLbl>
            <c:dLbl>
              <c:idx val="7"/>
              <c:tx>
                <c:rich>
                  <a:bodyPr/>
                  <a:lstStyle/>
                  <a:p>
                    <a:r>
                      <a:t>24.64</a:t>
                    </a:r>
                  </a:p>
                </c:rich>
              </c:tx>
              <c:showLegendKey val="0"/>
              <c:showVal val="1"/>
              <c:showCatName val="0"/>
              <c:showSerName val="0"/>
              <c:showPercent val="0"/>
              <c:showBubbleSize val="0"/>
            </c:dLbl>
            <c:dLbl>
              <c:idx val="8"/>
              <c:tx>
                <c:rich>
                  <a:bodyPr/>
                  <a:lstStyle/>
                  <a:p>
                    <a:r>
                      <a:t>9.7</a:t>
                    </a:r>
                  </a:p>
                </c:rich>
              </c:tx>
              <c:showLegendKey val="0"/>
              <c:showVal val="1"/>
              <c:showCatName val="0"/>
              <c:showSerName val="0"/>
              <c:showPercent val="0"/>
              <c:showBubbleSize val="0"/>
            </c:dLbl>
            <c:dLbl>
              <c:idx val="9"/>
              <c:tx>
                <c:rich>
                  <a:bodyPr/>
                  <a:lstStyle/>
                  <a:p>
                    <a:r>
                      <a:t>19.45</a:t>
                    </a:r>
                  </a:p>
                </c:rich>
              </c:tx>
              <c:showLegendKey val="0"/>
              <c:showVal val="1"/>
              <c:showCatName val="0"/>
              <c:showSerName val="0"/>
              <c:showPercent val="0"/>
              <c:showBubbleSize val="0"/>
            </c:dLbl>
            <c:dLbl>
              <c:idx val="10"/>
              <c:tx>
                <c:rich>
                  <a:bodyPr/>
                  <a:lstStyle/>
                  <a:p>
                    <a:r>
                      <a:t>42.25</a:t>
                    </a:r>
                  </a:p>
                </c:rich>
              </c:tx>
              <c:showLegendKey val="0"/>
              <c:showVal val="1"/>
              <c:showCatName val="0"/>
              <c:showSerName val="0"/>
              <c:showPercent val="0"/>
              <c:showBubbleSize val="0"/>
            </c:dLbl>
            <c:dLbl>
              <c:idx val="11"/>
              <c:tx>
                <c:rich>
                  <a:bodyPr/>
                  <a:lstStyle/>
                  <a:p>
                    <a:r>
                      <a:t>13.06</a:t>
                    </a:r>
                  </a:p>
                </c:rich>
              </c:tx>
              <c:showLegendKey val="0"/>
              <c:showVal val="1"/>
              <c:showCatName val="0"/>
              <c:showSerName val="0"/>
              <c:showPercent val="0"/>
              <c:showBubbleSize val="0"/>
            </c:dLbl>
            <c:dLbl>
              <c:idx val="12"/>
              <c:tx>
                <c:rich>
                  <a:bodyPr/>
                  <a:lstStyle/>
                  <a:p>
                    <a:r>
                      <a:t>32.12</a:t>
                    </a:r>
                  </a:p>
                </c:rich>
              </c:tx>
              <c:showLegendKey val="0"/>
              <c:showVal val="1"/>
              <c:showCatName val="0"/>
              <c:showSerName val="0"/>
              <c:showPercent val="0"/>
              <c:showBubbleSize val="0"/>
            </c:dLbl>
            <c:dLbl>
              <c:idx val="13"/>
              <c:tx>
                <c:rich>
                  <a:bodyPr/>
                  <a:lstStyle/>
                  <a:p>
                    <a:r>
                      <a:t>42.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HARRY'S 5 BLADE REFILL NORMAL 4CT</c:v>
                </c:pt>
                <c:pt idx="6">
                  <c:v>HARRY'S 5 BLADE REFILL NORMAL 8CT</c:v>
                </c:pt>
                <c:pt idx="7">
                  <c:v>HARRY'S 5 BLADE REFILL NORMAL 12CT</c:v>
                </c:pt>
                <c:pt idx="8">
                  <c:v>BARBASOL ULTRA 6 PLUS 6 BLADE REFILL NORMAL 4CT</c:v>
                </c:pt>
                <c:pt idx="9">
                  <c:v>GILLETTE FUSION 5 5 BLADE REFILL NORMAL 4CT</c:v>
                </c:pt>
                <c:pt idx="10">
                  <c:v>GILLETTE FUSION 5 5 BLADE REFILL NORMAL 16CT</c:v>
                </c:pt>
                <c:pt idx="11">
                  <c:v>GILLETTE MACH 3 3 BLADE REFILL NORMAL 4CT</c:v>
                </c:pt>
                <c:pt idx="12">
                  <c:v>GILLETTE FUSION 5 5 BLADE REFILL NORMAL 8CT</c:v>
                </c:pt>
                <c:pt idx="13">
                  <c:v>GILLETTE FUSION 5 5 BLADE REFILL NORMAL 12CT</c:v>
                </c:pt>
              </c:strCache>
            </c:strRef>
          </c:cat>
          <c:val>
            <c:numRef>
              <c:f>Sheet1!$B$2:$B$15</c:f>
              <c:numCache>
                <c:formatCode>General</c:formatCode>
                <c:ptCount val="14"/>
                <c:pt idx="0">
                  <c:v>15.22</c:v>
                </c:pt>
                <c:pt idx="1">
                  <c:v>26.91</c:v>
                </c:pt>
                <c:pt idx="2">
                  <c:v>16.88</c:v>
                </c:pt>
                <c:pt idx="3">
                  <c:v>13.58</c:v>
                </c:pt>
                <c:pt idx="4">
                  <c:v>23.94</c:v>
                </c:pt>
                <c:pt idx="5">
                  <c:v>10.19</c:v>
                </c:pt>
                <c:pt idx="6">
                  <c:v>17.2</c:v>
                </c:pt>
                <c:pt idx="7">
                  <c:v>24.64</c:v>
                </c:pt>
                <c:pt idx="8">
                  <c:v>9.7</c:v>
                </c:pt>
                <c:pt idx="9">
                  <c:v>19.45</c:v>
                </c:pt>
                <c:pt idx="10">
                  <c:v>42.25</c:v>
                </c:pt>
                <c:pt idx="11">
                  <c:v>13.06</c:v>
                </c:pt>
                <c:pt idx="12">
                  <c:v>32.12</c:v>
                </c:pt>
                <c:pt idx="13">
                  <c:v>42.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26.51</a:t>
                    </a:r>
                  </a:p>
                </c:rich>
              </c:tx>
              <c:showLegendKey val="0"/>
              <c:showVal val="1"/>
              <c:showCatName val="0"/>
              <c:showSerName val="0"/>
              <c:showPercent val="0"/>
              <c:showBubbleSize val="0"/>
            </c:dLbl>
            <c:dLbl>
              <c:idx val="2"/>
              <c:tx>
                <c:rich>
                  <a:bodyPr/>
                  <a:lstStyle/>
                  <a:p>
                    <a:r>
                      <a:t>14.99</a:t>
                    </a:r>
                  </a:p>
                </c:rich>
              </c:tx>
              <c:showLegendKey val="0"/>
              <c:showVal val="1"/>
              <c:showCatName val="0"/>
              <c:showSerName val="0"/>
              <c:showPercent val="0"/>
              <c:showBubbleSize val="0"/>
            </c:dLbl>
            <c:dLbl>
              <c:idx val="3"/>
              <c:tx>
                <c:rich>
                  <a:bodyPr/>
                  <a:lstStyle/>
                  <a:p>
                    <a:r>
                      <a:t>9.53</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16.96</a:t>
                    </a:r>
                  </a:p>
                </c:rich>
              </c:tx>
              <c:showLegendKey val="0"/>
              <c:showVal val="1"/>
              <c:showCatName val="0"/>
              <c:showSerName val="0"/>
              <c:showPercent val="0"/>
              <c:showBubbleSize val="0"/>
            </c:dLbl>
            <c:dLbl>
              <c:idx val="6"/>
              <c:tx>
                <c:rich>
                  <a:bodyPr/>
                  <a:lstStyle/>
                  <a:p>
                    <a:r>
                      <a:t>23.97</a:t>
                    </a:r>
                  </a:p>
                </c:rich>
              </c:tx>
              <c:showLegendKey val="0"/>
              <c:showVal val="1"/>
              <c:showCatName val="0"/>
              <c:showSerName val="0"/>
              <c:showPercent val="0"/>
              <c:showBubbleSize val="0"/>
            </c:dLbl>
            <c:dLbl>
              <c:idx val="7"/>
              <c:tx>
                <c:rich>
                  <a:bodyPr/>
                  <a:lstStyle/>
                  <a:p>
                    <a:r>
                      <a:t>18.42</a:t>
                    </a:r>
                  </a:p>
                </c:rich>
              </c:tx>
              <c:showLegendKey val="0"/>
              <c:showVal val="1"/>
              <c:showCatName val="0"/>
              <c:showSerName val="0"/>
              <c:showPercent val="0"/>
              <c:showBubbleSize val="0"/>
            </c:dLbl>
            <c:dLbl>
              <c:idx val="8"/>
              <c:tx>
                <c:rich>
                  <a:bodyPr/>
                  <a:lstStyle/>
                  <a:p>
                    <a:r>
                      <a:t>12.46</a:t>
                    </a:r>
                  </a:p>
                </c:rich>
              </c:tx>
              <c:showLegendKey val="0"/>
              <c:showVal val="1"/>
              <c:showCatName val="0"/>
              <c:showSerName val="0"/>
              <c:showPercent val="0"/>
              <c:showBubbleSize val="0"/>
            </c:dLbl>
            <c:dLbl>
              <c:idx val="9"/>
              <c:tx>
                <c:rich>
                  <a:bodyPr/>
                  <a:lstStyle/>
                  <a:p>
                    <a:r>
                      <a:t>40.1</a:t>
                    </a:r>
                  </a:p>
                </c:rich>
              </c:tx>
              <c:showLegendKey val="0"/>
              <c:showVal val="1"/>
              <c:showCatName val="0"/>
              <c:showSerName val="0"/>
              <c:showPercent val="0"/>
              <c:showBubbleSize val="0"/>
            </c:dLbl>
            <c:dLbl>
              <c:idx val="10"/>
              <c:tx>
                <c:rich>
                  <a:bodyPr/>
                  <a:lstStyle/>
                  <a:p>
                    <a:r>
                      <a:t>29.97</a:t>
                    </a:r>
                  </a:p>
                </c:rich>
              </c:tx>
              <c:showLegendKey val="0"/>
              <c:showVal val="1"/>
              <c:showCatName val="0"/>
              <c:showSerName val="0"/>
              <c:showPercent val="0"/>
              <c:showBubbleSize val="0"/>
            </c:dLbl>
            <c:dLbl>
              <c:idx val="11"/>
              <c:tx>
                <c:rich>
                  <a:bodyPr/>
                  <a:lstStyle/>
                  <a:p>
                    <a:r>
                      <a:t>22.46</a:t>
                    </a:r>
                  </a:p>
                </c:rich>
              </c:tx>
              <c:showLegendKey val="0"/>
              <c:showVal val="1"/>
              <c:showCatName val="0"/>
              <c:showSerName val="0"/>
              <c:showPercent val="0"/>
              <c:showBubbleSize val="0"/>
            </c:dLbl>
            <c:dLbl>
              <c:idx val="12"/>
              <c:tx>
                <c:rich>
                  <a:bodyPr/>
                  <a:lstStyle/>
                  <a:p>
                    <a:r>
                      <a:t>8.97</a:t>
                    </a:r>
                  </a:p>
                </c:rich>
              </c:tx>
              <c:showLegendKey val="0"/>
              <c:showVal val="1"/>
              <c:showCatName val="0"/>
              <c:showSerName val="0"/>
              <c:showPercent val="0"/>
              <c:showBubbleSize val="0"/>
            </c:dLbl>
            <c:dLbl>
              <c:idx val="13"/>
              <c:tx>
                <c:rich>
                  <a:bodyPr/>
                  <a:lstStyle/>
                  <a:p>
                    <a:r>
                      <a:t>16.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EFILL SENSITIVE 6CT</c:v>
                </c:pt>
                <c:pt idx="1">
                  <c:v>HYDRO 5 SENSITIVE 5 BLADE REFILL SENSITIVE 12CT</c:v>
                </c:pt>
                <c:pt idx="2">
                  <c:v>CREMO 5 BLADE REFILL NORMAL 4CT</c:v>
                </c:pt>
                <c:pt idx="3">
                  <c:v>SCHICK HYDRO 3 SENSITIVE 3 BLADE REFILL SENSITIVE 5CT</c:v>
                </c:pt>
                <c:pt idx="4">
                  <c:v>HARRY'S 5 BLADE REFILL NORMAL 4CT</c:v>
                </c:pt>
                <c:pt idx="5">
                  <c:v>HARRY'S 5 BLADE REFILL NORMAL 8CT</c:v>
                </c:pt>
                <c:pt idx="6">
                  <c:v>HARRY'S 5 BLADE REFILL NORMAL 12CT</c:v>
                </c:pt>
                <c:pt idx="7">
                  <c:v>GILLETTE FUSION 5 5 BLADE REFILL NORMAL 4CT</c:v>
                </c:pt>
                <c:pt idx="8">
                  <c:v>GILLETTE MACH 3 3 BLADE REFILL NORMAL 4CT</c:v>
                </c:pt>
                <c:pt idx="9">
                  <c:v>GILLETTE FUSION 5 5 BLADE REFILL NORMAL 12CT</c:v>
                </c:pt>
                <c:pt idx="10">
                  <c:v>GILLETTE FUSION 5 5 BLADE REFILL NORMAL 8CT</c:v>
                </c:pt>
                <c:pt idx="11">
                  <c:v>GILLETTE MACH 3 3 BLADE REFILL NORMAL 8CT</c:v>
                </c:pt>
                <c:pt idx="12">
                  <c:v>DOLLAR SHAVE CLUB 6 BLADE REFILL NORMAL 4CT</c:v>
                </c:pt>
                <c:pt idx="13">
                  <c:v>DOLLAR SHAVE CLUB 6 BLADE REFILL NORMAL 8CT</c:v>
                </c:pt>
              </c:strCache>
            </c:strRef>
          </c:cat>
          <c:val>
            <c:numRef>
              <c:f>Sheet1!$B$2:$B$15</c:f>
              <c:numCache>
                <c:formatCode>General</c:formatCode>
                <c:ptCount val="14"/>
                <c:pt idx="0">
                  <c:v>14.73</c:v>
                </c:pt>
                <c:pt idx="1">
                  <c:v>26.51</c:v>
                </c:pt>
                <c:pt idx="2">
                  <c:v>14.99</c:v>
                </c:pt>
                <c:pt idx="3">
                  <c:v>9.53</c:v>
                </c:pt>
                <c:pt idx="4">
                  <c:v>9.97</c:v>
                </c:pt>
                <c:pt idx="5">
                  <c:v>16.96</c:v>
                </c:pt>
                <c:pt idx="6">
                  <c:v>23.97</c:v>
                </c:pt>
                <c:pt idx="7">
                  <c:v>18.42</c:v>
                </c:pt>
                <c:pt idx="8">
                  <c:v>12.46</c:v>
                </c:pt>
                <c:pt idx="9">
                  <c:v>40.1</c:v>
                </c:pt>
                <c:pt idx="10">
                  <c:v>29.97</c:v>
                </c:pt>
                <c:pt idx="11">
                  <c:v>22.46</c:v>
                </c:pt>
                <c:pt idx="12">
                  <c:v>8.97</c:v>
                </c:pt>
                <c:pt idx="13">
                  <c:v>16.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15.22</a:t>
                    </a:r>
                  </a:p>
                </c:rich>
              </c:tx>
              <c:showLegendKey val="0"/>
              <c:showVal val="1"/>
              <c:showCatName val="0"/>
              <c:showSerName val="0"/>
              <c:showPercent val="0"/>
              <c:showBubbleSize val="0"/>
            </c:dLbl>
            <c:dLbl>
              <c:idx val="2"/>
              <c:tx>
                <c:rich>
                  <a:bodyPr/>
                  <a:lstStyle/>
                  <a:p>
                    <a:r>
                      <a:t>7.29</a:t>
                    </a:r>
                  </a:p>
                </c:rich>
              </c:tx>
              <c:showLegendKey val="0"/>
              <c:showVal val="1"/>
              <c:showCatName val="0"/>
              <c:showSerName val="0"/>
              <c:showPercent val="0"/>
              <c:showBubbleSize val="0"/>
            </c:dLbl>
            <c:dLbl>
              <c:idx val="3"/>
              <c:tx>
                <c:rich>
                  <a:bodyPr/>
                  <a:lstStyle/>
                  <a:p>
                    <a:r>
                      <a:t>10.59</a:t>
                    </a:r>
                  </a:p>
                </c:rich>
              </c:tx>
              <c:showLegendKey val="0"/>
              <c:showVal val="1"/>
              <c:showCatName val="0"/>
              <c:showSerName val="0"/>
              <c:showPercent val="0"/>
              <c:showBubbleSize val="0"/>
            </c:dLbl>
            <c:dLbl>
              <c:idx val="4"/>
              <c:tx>
                <c:rich>
                  <a:bodyPr/>
                  <a:lstStyle/>
                  <a:p>
                    <a:r>
                      <a:t>7.27</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09</a:t>
                    </a:r>
                  </a:p>
                </c:rich>
              </c:tx>
              <c:showLegendKey val="0"/>
              <c:showVal val="1"/>
              <c:showCatName val="0"/>
              <c:showSerName val="0"/>
              <c:showPercent val="0"/>
              <c:showBubbleSize val="0"/>
            </c:dLbl>
            <c:dLbl>
              <c:idx val="15"/>
              <c:tx>
                <c:rich>
                  <a:bodyPr/>
                  <a:lstStyle/>
                  <a:p>
                    <a:r>
                      <a:t>10.19</a:t>
                    </a:r>
                  </a:p>
                </c:rich>
              </c:tx>
              <c:showLegendKey val="0"/>
              <c:showVal val="1"/>
              <c:showCatName val="0"/>
              <c:showSerName val="0"/>
              <c:showPercent val="0"/>
              <c:showBubbleSize val="0"/>
            </c:dLbl>
            <c:dLbl>
              <c:idx val="16"/>
              <c:tx>
                <c:rich>
                  <a:bodyPr/>
                  <a:lstStyle/>
                  <a:p>
                    <a:r>
                      <a:t>17.2</a:t>
                    </a:r>
                  </a:p>
                </c:rich>
              </c:tx>
              <c:showLegendKey val="0"/>
              <c:showVal val="1"/>
              <c:showCatName val="0"/>
              <c:showSerName val="0"/>
              <c:showPercent val="0"/>
              <c:showBubbleSize val="0"/>
            </c:dLbl>
            <c:dLbl>
              <c:idx val="17"/>
              <c:tx>
                <c:rich>
                  <a:bodyPr/>
                  <a:lstStyle/>
                  <a:p>
                    <a:r>
                      <a:t>24.64</a:t>
                    </a:r>
                  </a:p>
                </c:rich>
              </c:tx>
              <c:showLegendKey val="0"/>
              <c:showVal val="1"/>
              <c:showCatName val="0"/>
              <c:showSerName val="0"/>
              <c:showPercent val="0"/>
              <c:showBubbleSize val="0"/>
            </c:dLbl>
            <c:dLbl>
              <c:idx val="18"/>
              <c:tx>
                <c:rich>
                  <a:bodyPr/>
                  <a:lstStyle/>
                  <a:p>
                    <a:r>
                      <a:t>16.3</a:t>
                    </a:r>
                  </a:p>
                </c:rich>
              </c:tx>
              <c:showLegendKey val="0"/>
              <c:showVal val="1"/>
              <c:showCatName val="0"/>
              <c:showSerName val="0"/>
              <c:showPercent val="0"/>
              <c:showBubbleSize val="0"/>
            </c:dLbl>
            <c:dLbl>
              <c:idx val="19"/>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3 SENSITIVE BLACK GREEN 3 BLADE DISPOSABLE SENSITIVE 20CT</c:v>
                </c:pt>
                <c:pt idx="1">
                  <c:v>HYDRO 5 SENSITIVE 5 BLADE REFILL SENSITIVE 6CT</c:v>
                </c:pt>
                <c:pt idx="2">
                  <c:v>SCHICK XTREME 2 SENSITIVE 2 BLADE DISPOSABLE NORMAL 12CT</c:v>
                </c:pt>
                <c:pt idx="3">
                  <c:v>HYDRO 5 SENSITIVE 5 BLADE RAZOR SENSITIVE 3CT</c:v>
                </c:pt>
                <c:pt idx="4">
                  <c:v>SCHICK XTREME 3 SENSITIVE BLACK 3 BLADE DISPOSABLE SENSITIVE 4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pt idx="15">
                  <c:v>HARRY'S 5 BLADE REFILL NORMAL 4CT</c:v>
                </c:pt>
                <c:pt idx="16">
                  <c:v>HARRY'S 5 BLADE REFILL NORMAL 8CT</c:v>
                </c:pt>
                <c:pt idx="17">
                  <c:v>HARRY'S 5 BLADE REFILL NORMAL 12CT</c:v>
                </c:pt>
                <c:pt idx="18">
                  <c:v>HARRY'S ORANGE 5 BLADE RAZOR NORMAL 5CT</c:v>
                </c:pt>
                <c:pt idx="19">
                  <c:v>HARRY'S SILVER 5 BLADE RAZOR NORMAL 5CT</c:v>
                </c:pt>
              </c:strCache>
            </c:strRef>
          </c:cat>
          <c:val>
            <c:numRef>
              <c:f>Sheet1!$B$2:$B$21</c:f>
              <c:numCache>
                <c:formatCode>General</c:formatCode>
                <c:ptCount val="20"/>
                <c:pt idx="0">
                  <c:v>20.09</c:v>
                </c:pt>
                <c:pt idx="1">
                  <c:v>15.22</c:v>
                </c:pt>
                <c:pt idx="2">
                  <c:v>7.29</c:v>
                </c:pt>
                <c:pt idx="3">
                  <c:v>10.59</c:v>
                </c:pt>
                <c:pt idx="4">
                  <c:v>7.27</c:v>
                </c:pt>
                <c:pt idx="5">
                  <c:v>6.93</c:v>
                </c:pt>
                <c:pt idx="6">
                  <c:v>7.11</c:v>
                </c:pt>
                <c:pt idx="7">
                  <c:v>7.15</c:v>
                </c:pt>
                <c:pt idx="8">
                  <c:v>3.77</c:v>
                </c:pt>
                <c:pt idx="9">
                  <c:v>13.0</c:v>
                </c:pt>
                <c:pt idx="10">
                  <c:v>19.45</c:v>
                </c:pt>
                <c:pt idx="11">
                  <c:v>42.25</c:v>
                </c:pt>
                <c:pt idx="12">
                  <c:v>13.06</c:v>
                </c:pt>
                <c:pt idx="13">
                  <c:v>32.12</c:v>
                </c:pt>
                <c:pt idx="14">
                  <c:v>42.09</c:v>
                </c:pt>
                <c:pt idx="15">
                  <c:v>10.19</c:v>
                </c:pt>
                <c:pt idx="16">
                  <c:v>17.2</c:v>
                </c:pt>
                <c:pt idx="17">
                  <c:v>24.64</c:v>
                </c:pt>
                <c:pt idx="18">
                  <c:v>16.3</c:v>
                </c:pt>
                <c:pt idx="19">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8.96</a:t>
                    </a:r>
                  </a:p>
                </c:rich>
              </c:tx>
              <c:showLegendKey val="0"/>
              <c:showVal val="1"/>
              <c:showCatName val="0"/>
              <c:showSerName val="0"/>
              <c:showPercent val="0"/>
              <c:showBubbleSize val="0"/>
            </c:dLbl>
            <c:dLbl>
              <c:idx val="2"/>
              <c:tx>
                <c:rich>
                  <a:bodyPr/>
                  <a:lstStyle/>
                  <a:p>
                    <a:r>
                      <a:t>2.18</a:t>
                    </a:r>
                  </a:p>
                </c:rich>
              </c:tx>
              <c:showLegendKey val="0"/>
              <c:showVal val="1"/>
              <c:showCatName val="0"/>
              <c:showSerName val="0"/>
              <c:showPercent val="0"/>
              <c:showBubbleSize val="0"/>
            </c:dLbl>
            <c:dLbl>
              <c:idx val="3"/>
              <c:tx>
                <c:rich>
                  <a:bodyPr/>
                  <a:lstStyle/>
                  <a:p>
                    <a:r>
                      <a:t>5.98</a:t>
                    </a:r>
                  </a:p>
                </c:rich>
              </c:tx>
              <c:showLegendKey val="0"/>
              <c:showVal val="1"/>
              <c:showCatName val="0"/>
              <c:showSerName val="0"/>
              <c:showPercent val="0"/>
              <c:showBubbleSize val="0"/>
            </c:dLbl>
            <c:dLbl>
              <c:idx val="4"/>
              <c:tx>
                <c:rich>
                  <a:bodyPr/>
                  <a:lstStyle/>
                  <a:p>
                    <a:r>
                      <a:t>20.0</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09</a:t>
                    </a:r>
                  </a:p>
                </c:rich>
              </c:tx>
              <c:showLegendKey val="0"/>
              <c:showVal val="1"/>
              <c:showCatName val="0"/>
              <c:showSerName val="0"/>
              <c:showPercent val="0"/>
              <c:showBubbleSize val="0"/>
            </c:dLbl>
            <c:dLbl>
              <c:idx val="15"/>
              <c:tx>
                <c:rich>
                  <a:bodyPr/>
                  <a:lstStyle/>
                  <a:p>
                    <a:r>
                      <a:t>10.19</a:t>
                    </a:r>
                  </a:p>
                </c:rich>
              </c:tx>
              <c:showLegendKey val="0"/>
              <c:showVal val="1"/>
              <c:showCatName val="0"/>
              <c:showSerName val="0"/>
              <c:showPercent val="0"/>
              <c:showBubbleSize val="0"/>
            </c:dLbl>
            <c:dLbl>
              <c:idx val="16"/>
              <c:tx>
                <c:rich>
                  <a:bodyPr/>
                  <a:lstStyle/>
                  <a:p>
                    <a:r>
                      <a:t>17.2</a:t>
                    </a:r>
                  </a:p>
                </c:rich>
              </c:tx>
              <c:showLegendKey val="0"/>
              <c:showVal val="1"/>
              <c:showCatName val="0"/>
              <c:showSerName val="0"/>
              <c:showPercent val="0"/>
              <c:showBubbleSize val="0"/>
            </c:dLbl>
            <c:dLbl>
              <c:idx val="17"/>
              <c:tx>
                <c:rich>
                  <a:bodyPr/>
                  <a:lstStyle/>
                  <a:p>
                    <a:r>
                      <a:t>24.64</a:t>
                    </a:r>
                  </a:p>
                </c:rich>
              </c:tx>
              <c:showLegendKey val="0"/>
              <c:showVal val="1"/>
              <c:showCatName val="0"/>
              <c:showSerName val="0"/>
              <c:showPercent val="0"/>
              <c:showBubbleSize val="0"/>
            </c:dLbl>
            <c:dLbl>
              <c:idx val="18"/>
              <c:tx>
                <c:rich>
                  <a:bodyPr/>
                  <a:lstStyle/>
                  <a:p>
                    <a:r>
                      <a:t>16.3</a:t>
                    </a:r>
                  </a:p>
                </c:rich>
              </c:tx>
              <c:showLegendKey val="0"/>
              <c:showVal val="1"/>
              <c:showCatName val="0"/>
              <c:showSerName val="0"/>
              <c:showPercent val="0"/>
              <c:showBubbleSize val="0"/>
            </c:dLbl>
            <c:dLbl>
              <c:idx val="19"/>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EASY FIT 5 5 BLADE REFILL NORMAL 12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pt idx="15">
                  <c:v>HARRY'S 5 BLADE REFILL NORMAL 4CT</c:v>
                </c:pt>
                <c:pt idx="16">
                  <c:v>HARRY'S 5 BLADE REFILL NORMAL 8CT</c:v>
                </c:pt>
                <c:pt idx="17">
                  <c:v>HARRY'S 5 BLADE REFILL NORMAL 12CT</c:v>
                </c:pt>
                <c:pt idx="18">
                  <c:v>HARRY'S ORANGE 5 BLADE RAZOR NORMAL 5CT</c:v>
                </c:pt>
                <c:pt idx="19">
                  <c:v>HARRY'S SILVER 5 BLADE RAZOR NORMAL 5CT</c:v>
                </c:pt>
              </c:strCache>
            </c:strRef>
          </c:cat>
          <c:val>
            <c:numRef>
              <c:f>Sheet1!$B$2:$B$21</c:f>
              <c:numCache>
                <c:formatCode>General</c:formatCode>
                <c:ptCount val="20"/>
                <c:pt idx="0">
                  <c:v>5.49</c:v>
                </c:pt>
                <c:pt idx="1">
                  <c:v>8.96</c:v>
                </c:pt>
                <c:pt idx="2">
                  <c:v>2.18</c:v>
                </c:pt>
                <c:pt idx="3">
                  <c:v>5.98</c:v>
                </c:pt>
                <c:pt idx="4">
                  <c:v>20.0</c:v>
                </c:pt>
                <c:pt idx="5">
                  <c:v>6.93</c:v>
                </c:pt>
                <c:pt idx="6">
                  <c:v>7.11</c:v>
                </c:pt>
                <c:pt idx="7">
                  <c:v>7.15</c:v>
                </c:pt>
                <c:pt idx="8">
                  <c:v>3.77</c:v>
                </c:pt>
                <c:pt idx="9">
                  <c:v>13.0</c:v>
                </c:pt>
                <c:pt idx="10">
                  <c:v>19.45</c:v>
                </c:pt>
                <c:pt idx="11">
                  <c:v>42.25</c:v>
                </c:pt>
                <c:pt idx="12">
                  <c:v>13.06</c:v>
                </c:pt>
                <c:pt idx="13">
                  <c:v>32.12</c:v>
                </c:pt>
                <c:pt idx="14">
                  <c:v>42.09</c:v>
                </c:pt>
                <c:pt idx="15">
                  <c:v>10.19</c:v>
                </c:pt>
                <c:pt idx="16">
                  <c:v>17.2</c:v>
                </c:pt>
                <c:pt idx="17">
                  <c:v>24.64</c:v>
                </c:pt>
                <c:pt idx="18">
                  <c:v>16.3</c:v>
                </c:pt>
                <c:pt idx="19">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15.52</a:t>
                    </a:r>
                  </a:p>
                </c:rich>
              </c:tx>
              <c:showLegendKey val="0"/>
              <c:showVal val="1"/>
              <c:showCatName val="0"/>
              <c:showSerName val="0"/>
              <c:showPercent val="0"/>
              <c:showBubbleSize val="0"/>
            </c:dLbl>
            <c:dLbl>
              <c:idx val="2"/>
              <c:tx>
                <c:rich>
                  <a:bodyPr/>
                  <a:lstStyle/>
                  <a:p>
                    <a:r>
                      <a:t>16.73</a:t>
                    </a:r>
                  </a:p>
                </c:rich>
              </c:tx>
              <c:showLegendKey val="0"/>
              <c:showVal val="1"/>
              <c:showCatName val="0"/>
              <c:showSerName val="0"/>
              <c:showPercent val="0"/>
              <c:showBubbleSize val="0"/>
            </c:dLbl>
            <c:dLbl>
              <c:idx val="3"/>
              <c:tx>
                <c:rich>
                  <a:bodyPr/>
                  <a:lstStyle/>
                  <a:p>
                    <a:r>
                      <a:t>10.6</a:t>
                    </a:r>
                  </a:p>
                </c:rich>
              </c:tx>
              <c:showLegendKey val="0"/>
              <c:showVal val="1"/>
              <c:showCatName val="0"/>
              <c:showSerName val="0"/>
              <c:showPercent val="0"/>
              <c:showBubbleSize val="0"/>
            </c:dLbl>
            <c:dLbl>
              <c:idx val="4"/>
              <c:tx>
                <c:rich>
                  <a:bodyPr/>
                  <a:lstStyle/>
                  <a:p>
                    <a:r>
                      <a:t>6.93</a:t>
                    </a:r>
                  </a:p>
                </c:rich>
              </c:tx>
              <c:showLegendKey val="0"/>
              <c:showVal val="1"/>
              <c:showCatName val="0"/>
              <c:showSerName val="0"/>
              <c:showPercent val="0"/>
              <c:showBubbleSize val="0"/>
            </c:dLbl>
            <c:dLbl>
              <c:idx val="5"/>
              <c:tx>
                <c:rich>
                  <a:bodyPr/>
                  <a:lstStyle/>
                  <a:p>
                    <a:r>
                      <a:t>7.11</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13.0</a:t>
                    </a:r>
                  </a:p>
                </c:rich>
              </c:tx>
              <c:showLegendKey val="0"/>
              <c:showVal val="1"/>
              <c:showCatName val="0"/>
              <c:showSerName val="0"/>
              <c:showPercent val="0"/>
              <c:showBubbleSize val="0"/>
            </c:dLbl>
            <c:dLbl>
              <c:idx val="9"/>
              <c:tx>
                <c:rich>
                  <a:bodyPr/>
                  <a:lstStyle/>
                  <a:p>
                    <a:r>
                      <a:t>19.45</a:t>
                    </a:r>
                  </a:p>
                </c:rich>
              </c:tx>
              <c:showLegendKey val="0"/>
              <c:showVal val="1"/>
              <c:showCatName val="0"/>
              <c:showSerName val="0"/>
              <c:showPercent val="0"/>
              <c:showBubbleSize val="0"/>
            </c:dLbl>
            <c:dLbl>
              <c:idx val="10"/>
              <c:tx>
                <c:rich>
                  <a:bodyPr/>
                  <a:lstStyle/>
                  <a:p>
                    <a:r>
                      <a:t>42.25</a:t>
                    </a:r>
                  </a:p>
                </c:rich>
              </c:tx>
              <c:showLegendKey val="0"/>
              <c:showVal val="1"/>
              <c:showCatName val="0"/>
              <c:showSerName val="0"/>
              <c:showPercent val="0"/>
              <c:showBubbleSize val="0"/>
            </c:dLbl>
            <c:dLbl>
              <c:idx val="11"/>
              <c:tx>
                <c:rich>
                  <a:bodyPr/>
                  <a:lstStyle/>
                  <a:p>
                    <a:r>
                      <a:t>13.06</a:t>
                    </a:r>
                  </a:p>
                </c:rich>
              </c:tx>
              <c:showLegendKey val="0"/>
              <c:showVal val="1"/>
              <c:showCatName val="0"/>
              <c:showSerName val="0"/>
              <c:showPercent val="0"/>
              <c:showBubbleSize val="0"/>
            </c:dLbl>
            <c:dLbl>
              <c:idx val="12"/>
              <c:tx>
                <c:rich>
                  <a:bodyPr/>
                  <a:lstStyle/>
                  <a:p>
                    <a:r>
                      <a:t>32.12</a:t>
                    </a:r>
                  </a:p>
                </c:rich>
              </c:tx>
              <c:showLegendKey val="0"/>
              <c:showVal val="1"/>
              <c:showCatName val="0"/>
              <c:showSerName val="0"/>
              <c:showPercent val="0"/>
              <c:showBubbleSize val="0"/>
            </c:dLbl>
            <c:dLbl>
              <c:idx val="13"/>
              <c:tx>
                <c:rich>
                  <a:bodyPr/>
                  <a:lstStyle/>
                  <a:p>
                    <a:r>
                      <a:t>42.09</a:t>
                    </a:r>
                  </a:p>
                </c:rich>
              </c:tx>
              <c:showLegendKey val="0"/>
              <c:showVal val="1"/>
              <c:showCatName val="0"/>
              <c:showSerName val="0"/>
              <c:showPercent val="0"/>
              <c:showBubbleSize val="0"/>
            </c:dLbl>
            <c:dLbl>
              <c:idx val="14"/>
              <c:tx>
                <c:rich>
                  <a:bodyPr/>
                  <a:lstStyle/>
                  <a:p>
                    <a:r>
                      <a:t>10.19</a:t>
                    </a:r>
                  </a:p>
                </c:rich>
              </c:tx>
              <c:showLegendKey val="0"/>
              <c:showVal val="1"/>
              <c:showCatName val="0"/>
              <c:showSerName val="0"/>
              <c:showPercent val="0"/>
              <c:showBubbleSize val="0"/>
            </c:dLbl>
            <c:dLbl>
              <c:idx val="15"/>
              <c:tx>
                <c:rich>
                  <a:bodyPr/>
                  <a:lstStyle/>
                  <a:p>
                    <a:r>
                      <a:t>17.2</a:t>
                    </a:r>
                  </a:p>
                </c:rich>
              </c:tx>
              <c:showLegendKey val="0"/>
              <c:showVal val="1"/>
              <c:showCatName val="0"/>
              <c:showSerName val="0"/>
              <c:showPercent val="0"/>
              <c:showBubbleSize val="0"/>
            </c:dLbl>
            <c:dLbl>
              <c:idx val="16"/>
              <c:tx>
                <c:rich>
                  <a:bodyPr/>
                  <a:lstStyle/>
                  <a:p>
                    <a:r>
                      <a:t>24.64</a:t>
                    </a:r>
                  </a:p>
                </c:rich>
              </c:tx>
              <c:showLegendKey val="0"/>
              <c:showVal val="1"/>
              <c:showCatName val="0"/>
              <c:showSerName val="0"/>
              <c:showPercent val="0"/>
              <c:showBubbleSize val="0"/>
            </c:dLbl>
            <c:dLbl>
              <c:idx val="17"/>
              <c:tx>
                <c:rich>
                  <a:bodyPr/>
                  <a:lstStyle/>
                  <a:p>
                    <a:r>
                      <a:t>16.3</a:t>
                    </a:r>
                  </a:p>
                </c:rich>
              </c:tx>
              <c:showLegendKey val="0"/>
              <c:showVal val="1"/>
              <c:showCatName val="0"/>
              <c:showSerName val="0"/>
              <c:showPercent val="0"/>
              <c:showBubbleSize val="0"/>
            </c:dLbl>
            <c:dLbl>
              <c:idx val="18"/>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CREMO 5 BLADE REFILL NORMAL 4CT</c:v>
                </c:pt>
                <c:pt idx="1">
                  <c:v>CREMO 5 BLADE RAZOR NORMAL 2CT</c:v>
                </c:pt>
                <c:pt idx="2">
                  <c:v>CREMO SILVER HOLIDAY GIFT PACK REM BLADES RAZOR 5CT</c:v>
                </c:pt>
                <c:pt idx="3">
                  <c:v>CREMO SILVER HOLIDAY GIFT PACK 5 BLADE RAZOR 5CT</c:v>
                </c:pt>
                <c:pt idx="4">
                  <c:v>BIC FLEX 4 4 BLADE DISPOSABLE SENSITIVE 3CT</c:v>
                </c:pt>
                <c:pt idx="5">
                  <c:v>BIC FLEX 5 HYBRID 5 BLADE HYBRID NORMAL 4CT</c:v>
                </c:pt>
                <c:pt idx="6">
                  <c:v>BIC FLEX 5 BLACK WHITE 5 BLADE DISPOSABLE NORMAL 2CT</c:v>
                </c:pt>
                <c:pt idx="7">
                  <c:v>BIC SINGLE SENSITIVE 1 BLADE DISPOSABLE SENSITIVE 12CT</c:v>
                </c:pt>
                <c:pt idx="8">
                  <c:v>BIC FLEX 5 HYBRID 5 BLADE HYBRID NORMAL 7CT</c:v>
                </c:pt>
                <c:pt idx="9">
                  <c:v>GILLETTE FUSION 5 5 BLADE REFILL NORMAL 4CT</c:v>
                </c:pt>
                <c:pt idx="10">
                  <c:v>GILLETTE FUSION 5 5 BLADE REFILL NORMAL 16CT</c:v>
                </c:pt>
                <c:pt idx="11">
                  <c:v>GILLETTE MACH 3 3 BLADE REFILL NORMAL 4CT</c:v>
                </c:pt>
                <c:pt idx="12">
                  <c:v>GILLETTE FUSION 5 5 BLADE REFILL NORMAL 8CT</c:v>
                </c:pt>
                <c:pt idx="13">
                  <c:v>GILLETTE FUSION 5 5 BLADE REFILL NORMAL 12CT</c:v>
                </c:pt>
                <c:pt idx="14">
                  <c:v>HARRY'S 5 BLADE REFILL NORMAL 4CT</c:v>
                </c:pt>
                <c:pt idx="15">
                  <c:v>HARRY'S 5 BLADE REFILL NORMAL 8CT</c:v>
                </c:pt>
                <c:pt idx="16">
                  <c:v>HARRY'S 5 BLADE REFILL NORMAL 12CT</c:v>
                </c:pt>
                <c:pt idx="17">
                  <c:v>HARRY'S ORANGE 5 BLADE RAZOR NORMAL 5CT</c:v>
                </c:pt>
                <c:pt idx="18">
                  <c:v>HARRY'S SILVER 5 BLADE RAZOR NORMAL 5CT</c:v>
                </c:pt>
              </c:strCache>
            </c:strRef>
          </c:cat>
          <c:val>
            <c:numRef>
              <c:f>Sheet1!$B$2:$B$20</c:f>
              <c:numCache>
                <c:formatCode>General</c:formatCode>
                <c:ptCount val="19"/>
                <c:pt idx="0">
                  <c:v>13.9</c:v>
                </c:pt>
                <c:pt idx="1">
                  <c:v>15.52</c:v>
                </c:pt>
                <c:pt idx="2">
                  <c:v>16.73</c:v>
                </c:pt>
                <c:pt idx="3">
                  <c:v>10.6</c:v>
                </c:pt>
                <c:pt idx="4">
                  <c:v>6.93</c:v>
                </c:pt>
                <c:pt idx="5">
                  <c:v>7.11</c:v>
                </c:pt>
                <c:pt idx="6">
                  <c:v>7.15</c:v>
                </c:pt>
                <c:pt idx="7">
                  <c:v>3.77</c:v>
                </c:pt>
                <c:pt idx="8">
                  <c:v>13.0</c:v>
                </c:pt>
                <c:pt idx="9">
                  <c:v>19.45</c:v>
                </c:pt>
                <c:pt idx="10">
                  <c:v>42.25</c:v>
                </c:pt>
                <c:pt idx="11">
                  <c:v>13.06</c:v>
                </c:pt>
                <c:pt idx="12">
                  <c:v>32.12</c:v>
                </c:pt>
                <c:pt idx="13">
                  <c:v>42.09</c:v>
                </c:pt>
                <c:pt idx="14">
                  <c:v>10.19</c:v>
                </c:pt>
                <c:pt idx="15">
                  <c:v>17.2</c:v>
                </c:pt>
                <c:pt idx="16">
                  <c:v>24.64</c:v>
                </c:pt>
                <c:pt idx="17">
                  <c:v>16.3</c:v>
                </c:pt>
                <c:pt idx="18">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4.71</a:t>
                    </a:r>
                  </a:p>
                </c:rich>
              </c:tx>
              <c:showLegendKey val="0"/>
              <c:showVal val="1"/>
              <c:showCatName val="0"/>
              <c:showSerName val="0"/>
              <c:showPercent val="0"/>
              <c:showBubbleSize val="0"/>
            </c:dLbl>
            <c:dLbl>
              <c:idx val="2"/>
              <c:tx>
                <c:rich>
                  <a:bodyPr/>
                  <a:lstStyle/>
                  <a:p>
                    <a:r>
                      <a:t>42.27</a:t>
                    </a:r>
                  </a:p>
                </c:rich>
              </c:tx>
              <c:showLegendKey val="0"/>
              <c:showVal val="1"/>
              <c:showCatName val="0"/>
              <c:showSerName val="0"/>
              <c:showPercent val="0"/>
              <c:showBubbleSize val="0"/>
            </c:dLbl>
            <c:dLbl>
              <c:idx val="3"/>
              <c:tx>
                <c:rich>
                  <a:bodyPr/>
                  <a:lstStyle/>
                  <a:p>
                    <a:r>
                      <a:t>39.57</a:t>
                    </a:r>
                  </a:p>
                </c:rich>
              </c:tx>
              <c:showLegendKey val="0"/>
              <c:showVal val="1"/>
              <c:showCatName val="0"/>
              <c:showSerName val="0"/>
              <c:showPercent val="0"/>
              <c:showBubbleSize val="0"/>
            </c:dLbl>
            <c:dLbl>
              <c:idx val="4"/>
              <c:tx>
                <c:rich>
                  <a:bodyPr/>
                  <a:lstStyle/>
                  <a:p>
                    <a:r>
                      <a:t>33.57</a:t>
                    </a:r>
                  </a:p>
                </c:rich>
              </c:tx>
              <c:showLegendKey val="0"/>
              <c:showVal val="1"/>
              <c:showCatName val="0"/>
              <c:showSerName val="0"/>
              <c:showPercent val="0"/>
              <c:showBubbleSize val="0"/>
            </c:dLbl>
            <c:dLbl>
              <c:idx val="5"/>
              <c:tx>
                <c:rich>
                  <a:bodyPr/>
                  <a:lstStyle/>
                  <a:p>
                    <a:r>
                      <a:t>46.81</a:t>
                    </a:r>
                  </a:p>
                </c:rich>
              </c:tx>
              <c:showLegendKey val="0"/>
              <c:showVal val="1"/>
              <c:showCatName val="0"/>
              <c:showSerName val="0"/>
              <c:showPercent val="0"/>
              <c:showBubbleSize val="0"/>
            </c:dLbl>
            <c:dLbl>
              <c:idx val="6"/>
              <c:tx>
                <c:rich>
                  <a:bodyPr/>
                  <a:lstStyle/>
                  <a:p>
                    <a:r>
                      <a:t>32.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CHICK XTREME 3 SENSITIVE BLACK GREEN 3 BLADE DISPOSABLE SENSITIVE 20CT</c:v>
                </c:pt>
                <c:pt idx="1">
                  <c:v>SCHICK XTREME 3 SENSITIVE BLACK 3 BLADE DISPOSABLE SENSITIVE 20CT</c:v>
                </c:pt>
                <c:pt idx="2">
                  <c:v>GILLETTE FUSION 5 5 BLADE REFILL NORMAL 16CT</c:v>
                </c:pt>
                <c:pt idx="3">
                  <c:v>GILLETTE MACH 3 3 BLADE REFILL NORMAL 20CT</c:v>
                </c:pt>
                <c:pt idx="4">
                  <c:v>GILLETTE SENSOR 2 PLUS PIVOT 2 BLADE DISPOSABLE NORMAL 52CT</c:v>
                </c:pt>
                <c:pt idx="5">
                  <c:v>GILLETTE FUSION 5 PROGLIDE 5 BLADE RAZOR NORMAL 13CT</c:v>
                </c:pt>
                <c:pt idx="6">
                  <c:v>GILLETTE FUSION 5 5 BLADE RAZOR NORMAL 9CT</c:v>
                </c:pt>
              </c:strCache>
            </c:strRef>
          </c:cat>
          <c:val>
            <c:numRef>
              <c:f>Sheet1!$B$2:$B$8</c:f>
              <c:numCache>
                <c:formatCode>General</c:formatCode>
                <c:ptCount val="7"/>
                <c:pt idx="0">
                  <c:v>20.1</c:v>
                </c:pt>
                <c:pt idx="1">
                  <c:v>24.71</c:v>
                </c:pt>
                <c:pt idx="2">
                  <c:v>42.27</c:v>
                </c:pt>
                <c:pt idx="3">
                  <c:v>39.57</c:v>
                </c:pt>
                <c:pt idx="4">
                  <c:v>33.57</c:v>
                </c:pt>
                <c:pt idx="5">
                  <c:v>46.81</c:v>
                </c:pt>
                <c:pt idx="6">
                  <c:v>3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6.5</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26.51</a:t>
                    </a:r>
                  </a:p>
                </c:rich>
              </c:tx>
              <c:showLegendKey val="0"/>
              <c:showVal val="1"/>
              <c:showCatName val="0"/>
              <c:showSerName val="0"/>
              <c:showPercent val="0"/>
              <c:showBubbleSize val="0"/>
            </c:dLbl>
            <c:dLbl>
              <c:idx val="4"/>
              <c:tx>
                <c:rich>
                  <a:bodyPr/>
                  <a:lstStyle/>
                  <a:p>
                    <a:r>
                      <a:t>11.02</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18.42</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9.97</a:t>
                    </a:r>
                  </a:p>
                </c:rich>
              </c:tx>
              <c:showLegendKey val="0"/>
              <c:showVal val="1"/>
              <c:showCatName val="0"/>
              <c:showSerName val="0"/>
              <c:showPercent val="0"/>
              <c:showBubbleSize val="0"/>
            </c:dLbl>
            <c:dLbl>
              <c:idx val="16"/>
              <c:tx>
                <c:rich>
                  <a:bodyPr/>
                  <a:lstStyle/>
                  <a:p>
                    <a:r>
                      <a:t>16.96</a:t>
                    </a:r>
                  </a:p>
                </c:rich>
              </c:tx>
              <c:showLegendKey val="0"/>
              <c:showVal val="1"/>
              <c:showCatName val="0"/>
              <c:showSerName val="0"/>
              <c:showPercent val="0"/>
              <c:showBubbleSize val="0"/>
            </c:dLbl>
            <c:dLbl>
              <c:idx val="17"/>
              <c:tx>
                <c:rich>
                  <a:bodyPr/>
                  <a:lstStyle/>
                  <a:p>
                    <a:r>
                      <a:t>23.97</a:t>
                    </a:r>
                  </a:p>
                </c:rich>
              </c:tx>
              <c:showLegendKey val="0"/>
              <c:showVal val="1"/>
              <c:showCatName val="0"/>
              <c:showSerName val="0"/>
              <c:showPercent val="0"/>
              <c:showBubbleSize val="0"/>
            </c:dLbl>
            <c:dLbl>
              <c:idx val="18"/>
              <c:tx>
                <c:rich>
                  <a:bodyPr/>
                  <a:lstStyle/>
                  <a:p>
                    <a:r>
                      <a:t>16.01</a:t>
                    </a:r>
                  </a:p>
                </c:rich>
              </c:tx>
              <c:showLegendKey val="0"/>
              <c:showVal val="1"/>
              <c:showCatName val="0"/>
              <c:showSerName val="0"/>
              <c:showPercent val="0"/>
              <c:showBubbleSize val="0"/>
            </c:dLbl>
            <c:dLbl>
              <c:idx val="19"/>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SCHICK XTREME 2 SENSITIVE 2 BLADE DISPOSABLE NORMAL 12CT</c:v>
                </c:pt>
                <c:pt idx="2">
                  <c:v>HYDRO 5 SENSITIVE 5 BLADE RAZOR SENSITIVE 3CT</c:v>
                </c:pt>
                <c:pt idx="3">
                  <c:v>HYDRO 5 SENSITIVE 5 BLADE REFILL SENSITIVE 12CT</c:v>
                </c:pt>
                <c:pt idx="4">
                  <c:v>SCHICK XTREME 3 SENSITIVE GREEN 3 BLADE DISPOSABLE SENSITIVE 8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HARRY'S 5 BLADE REFILL NORMAL 4CT</c:v>
                </c:pt>
                <c:pt idx="16">
                  <c:v>HARRY'S 5 BLADE REFILL NORMAL 8CT</c:v>
                </c:pt>
                <c:pt idx="17">
                  <c:v>HARRY'S 5 BLADE REFILL NORMAL 12CT</c:v>
                </c:pt>
                <c:pt idx="18">
                  <c:v>HARRY'S ORANGE 5 BLADE RAZOR NORMAL 5CT</c:v>
                </c:pt>
                <c:pt idx="19">
                  <c:v>HARRY'S SURF BLUE 5 BLADE RAZOR NORMAL 2CT</c:v>
                </c:pt>
              </c:strCache>
            </c:strRef>
          </c:cat>
          <c:val>
            <c:numRef>
              <c:f>Sheet1!$B$2:$B$21</c:f>
              <c:numCache>
                <c:formatCode>General</c:formatCode>
                <c:ptCount val="20"/>
                <c:pt idx="0">
                  <c:v>14.73</c:v>
                </c:pt>
                <c:pt idx="1">
                  <c:v>6.5</c:v>
                </c:pt>
                <c:pt idx="2">
                  <c:v>9.96</c:v>
                </c:pt>
                <c:pt idx="3">
                  <c:v>26.51</c:v>
                </c:pt>
                <c:pt idx="4">
                  <c:v>11.02</c:v>
                </c:pt>
                <c:pt idx="5">
                  <c:v>6.92</c:v>
                </c:pt>
                <c:pt idx="6">
                  <c:v>3.43</c:v>
                </c:pt>
                <c:pt idx="7">
                  <c:v>12.82</c:v>
                </c:pt>
                <c:pt idx="8">
                  <c:v>19.98</c:v>
                </c:pt>
                <c:pt idx="9">
                  <c:v>6.94</c:v>
                </c:pt>
                <c:pt idx="10">
                  <c:v>18.42</c:v>
                </c:pt>
                <c:pt idx="11">
                  <c:v>12.46</c:v>
                </c:pt>
                <c:pt idx="12">
                  <c:v>40.1</c:v>
                </c:pt>
                <c:pt idx="13">
                  <c:v>29.97</c:v>
                </c:pt>
                <c:pt idx="14">
                  <c:v>23.89</c:v>
                </c:pt>
                <c:pt idx="15">
                  <c:v>9.97</c:v>
                </c:pt>
                <c:pt idx="16">
                  <c:v>16.96</c:v>
                </c:pt>
                <c:pt idx="17">
                  <c:v>23.97</c:v>
                </c:pt>
                <c:pt idx="18">
                  <c:v>16.01</c:v>
                </c:pt>
                <c:pt idx="19">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8.96</a:t>
                    </a:r>
                  </a:p>
                </c:rich>
              </c:tx>
              <c:showLegendKey val="0"/>
              <c:showVal val="1"/>
              <c:showCatName val="0"/>
              <c:showSerName val="0"/>
              <c:showPercent val="0"/>
              <c:showBubbleSize val="0"/>
            </c:dLbl>
            <c:dLbl>
              <c:idx val="2"/>
              <c:tx>
                <c:rich>
                  <a:bodyPr/>
                  <a:lstStyle/>
                  <a:p>
                    <a:r>
                      <a:t>2.18</a:t>
                    </a:r>
                  </a:p>
                </c:rich>
              </c:tx>
              <c:showLegendKey val="0"/>
              <c:showVal val="1"/>
              <c:showCatName val="0"/>
              <c:showSerName val="0"/>
              <c:showPercent val="0"/>
              <c:showBubbleSize val="0"/>
            </c:dLbl>
            <c:dLbl>
              <c:idx val="3"/>
              <c:tx>
                <c:rich>
                  <a:bodyPr/>
                  <a:lstStyle/>
                  <a:p>
                    <a:r>
                      <a:t>5.98</a:t>
                    </a:r>
                  </a:p>
                </c:rich>
              </c:tx>
              <c:showLegendKey val="0"/>
              <c:showVal val="1"/>
              <c:showCatName val="0"/>
              <c:showSerName val="0"/>
              <c:showPercent val="0"/>
              <c:showBubbleSize val="0"/>
            </c:dLbl>
            <c:dLbl>
              <c:idx val="4"/>
              <c:tx>
                <c:rich>
                  <a:bodyPr/>
                  <a:lstStyle/>
                  <a:p>
                    <a:r>
                      <a:t>20.0</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18.42</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9.97</a:t>
                    </a:r>
                  </a:p>
                </c:rich>
              </c:tx>
              <c:showLegendKey val="0"/>
              <c:showVal val="1"/>
              <c:showCatName val="0"/>
              <c:showSerName val="0"/>
              <c:showPercent val="0"/>
              <c:showBubbleSize val="0"/>
            </c:dLbl>
            <c:dLbl>
              <c:idx val="16"/>
              <c:tx>
                <c:rich>
                  <a:bodyPr/>
                  <a:lstStyle/>
                  <a:p>
                    <a:r>
                      <a:t>16.96</a:t>
                    </a:r>
                  </a:p>
                </c:rich>
              </c:tx>
              <c:showLegendKey val="0"/>
              <c:showVal val="1"/>
              <c:showCatName val="0"/>
              <c:showSerName val="0"/>
              <c:showPercent val="0"/>
              <c:showBubbleSize val="0"/>
            </c:dLbl>
            <c:dLbl>
              <c:idx val="17"/>
              <c:tx>
                <c:rich>
                  <a:bodyPr/>
                  <a:lstStyle/>
                  <a:p>
                    <a:r>
                      <a:t>23.97</a:t>
                    </a:r>
                  </a:p>
                </c:rich>
              </c:tx>
              <c:showLegendKey val="0"/>
              <c:showVal val="1"/>
              <c:showCatName val="0"/>
              <c:showSerName val="0"/>
              <c:showPercent val="0"/>
              <c:showBubbleSize val="0"/>
            </c:dLbl>
            <c:dLbl>
              <c:idx val="18"/>
              <c:tx>
                <c:rich>
                  <a:bodyPr/>
                  <a:lstStyle/>
                  <a:p>
                    <a:r>
                      <a:t>16.01</a:t>
                    </a:r>
                  </a:p>
                </c:rich>
              </c:tx>
              <c:showLegendKey val="0"/>
              <c:showVal val="1"/>
              <c:showCatName val="0"/>
              <c:showSerName val="0"/>
              <c:showPercent val="0"/>
              <c:showBubbleSize val="0"/>
            </c:dLbl>
            <c:dLbl>
              <c:idx val="19"/>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EASY FIT 5 5 BLADE REFILL NORMAL 12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HARRY'S 5 BLADE REFILL NORMAL 4CT</c:v>
                </c:pt>
                <c:pt idx="16">
                  <c:v>HARRY'S 5 BLADE REFILL NORMAL 8CT</c:v>
                </c:pt>
                <c:pt idx="17">
                  <c:v>HARRY'S 5 BLADE REFILL NORMAL 12CT</c:v>
                </c:pt>
                <c:pt idx="18">
                  <c:v>HARRY'S ORANGE 5 BLADE RAZOR NORMAL 5CT</c:v>
                </c:pt>
                <c:pt idx="19">
                  <c:v>HARRY'S SURF BLUE 5 BLADE RAZOR NORMAL 2CT</c:v>
                </c:pt>
              </c:strCache>
            </c:strRef>
          </c:cat>
          <c:val>
            <c:numRef>
              <c:f>Sheet1!$B$2:$B$21</c:f>
              <c:numCache>
                <c:formatCode>General</c:formatCode>
                <c:ptCount val="20"/>
                <c:pt idx="0">
                  <c:v>5.49</c:v>
                </c:pt>
                <c:pt idx="1">
                  <c:v>8.96</c:v>
                </c:pt>
                <c:pt idx="2">
                  <c:v>2.18</c:v>
                </c:pt>
                <c:pt idx="3">
                  <c:v>5.98</c:v>
                </c:pt>
                <c:pt idx="4">
                  <c:v>20.0</c:v>
                </c:pt>
                <c:pt idx="5">
                  <c:v>6.92</c:v>
                </c:pt>
                <c:pt idx="6">
                  <c:v>3.43</c:v>
                </c:pt>
                <c:pt idx="7">
                  <c:v>12.82</c:v>
                </c:pt>
                <c:pt idx="8">
                  <c:v>19.98</c:v>
                </c:pt>
                <c:pt idx="9">
                  <c:v>6.94</c:v>
                </c:pt>
                <c:pt idx="10">
                  <c:v>18.42</c:v>
                </c:pt>
                <c:pt idx="11">
                  <c:v>12.46</c:v>
                </c:pt>
                <c:pt idx="12">
                  <c:v>40.1</c:v>
                </c:pt>
                <c:pt idx="13">
                  <c:v>29.97</c:v>
                </c:pt>
                <c:pt idx="14">
                  <c:v>23.89</c:v>
                </c:pt>
                <c:pt idx="15">
                  <c:v>9.97</c:v>
                </c:pt>
                <c:pt idx="16">
                  <c:v>16.96</c:v>
                </c:pt>
                <c:pt idx="17">
                  <c:v>23.97</c:v>
                </c:pt>
                <c:pt idx="18">
                  <c:v>16.01</c:v>
                </c:pt>
                <c:pt idx="19">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14.99</a:t>
                    </a:r>
                  </a:p>
                </c:rich>
              </c:tx>
              <c:showLegendKey val="0"/>
              <c:showVal val="1"/>
              <c:showCatName val="0"/>
              <c:showSerName val="0"/>
              <c:showPercent val="0"/>
              <c:showBubbleSize val="0"/>
            </c:dLbl>
            <c:dLbl>
              <c:idx val="2"/>
              <c:tx>
                <c:rich>
                  <a:bodyPr/>
                  <a:lstStyle/>
                  <a:p>
                    <a:r>
                      <a:t>6.92</a:t>
                    </a:r>
                  </a:p>
                </c:rich>
              </c:tx>
              <c:showLegendKey val="0"/>
              <c:showVal val="1"/>
              <c:showCatName val="0"/>
              <c:showSerName val="0"/>
              <c:showPercent val="0"/>
              <c:showBubbleSize val="0"/>
            </c:dLbl>
            <c:dLbl>
              <c:idx val="3"/>
              <c:tx>
                <c:rich>
                  <a:bodyPr/>
                  <a:lstStyle/>
                  <a:p>
                    <a:r>
                      <a:t>3.43</a:t>
                    </a:r>
                  </a:p>
                </c:rich>
              </c:tx>
              <c:showLegendKey val="0"/>
              <c:showVal val="1"/>
              <c:showCatName val="0"/>
              <c:showSerName val="0"/>
              <c:showPercent val="0"/>
              <c:showBubbleSize val="0"/>
            </c:dLbl>
            <c:dLbl>
              <c:idx val="4"/>
              <c:tx>
                <c:rich>
                  <a:bodyPr/>
                  <a:lstStyle/>
                  <a:p>
                    <a:r>
                      <a:t>12.82</a:t>
                    </a:r>
                  </a:p>
                </c:rich>
              </c:tx>
              <c:showLegendKey val="0"/>
              <c:showVal val="1"/>
              <c:showCatName val="0"/>
              <c:showSerName val="0"/>
              <c:showPercent val="0"/>
              <c:showBubbleSize val="0"/>
            </c:dLbl>
            <c:dLbl>
              <c:idx val="5"/>
              <c:tx>
                <c:rich>
                  <a:bodyPr/>
                  <a:lstStyle/>
                  <a:p>
                    <a:r>
                      <a:t>19.98</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8.42</a:t>
                    </a:r>
                  </a:p>
                </c:rich>
              </c:tx>
              <c:showLegendKey val="0"/>
              <c:showVal val="1"/>
              <c:showCatName val="0"/>
              <c:showSerName val="0"/>
              <c:showPercent val="0"/>
              <c:showBubbleSize val="0"/>
            </c:dLbl>
            <c:dLbl>
              <c:idx val="8"/>
              <c:tx>
                <c:rich>
                  <a:bodyPr/>
                  <a:lstStyle/>
                  <a:p>
                    <a:r>
                      <a:t>12.46</a:t>
                    </a:r>
                  </a:p>
                </c:rich>
              </c:tx>
              <c:showLegendKey val="0"/>
              <c:showVal val="1"/>
              <c:showCatName val="0"/>
              <c:showSerName val="0"/>
              <c:showPercent val="0"/>
              <c:showBubbleSize val="0"/>
            </c:dLbl>
            <c:dLbl>
              <c:idx val="9"/>
              <c:tx>
                <c:rich>
                  <a:bodyPr/>
                  <a:lstStyle/>
                  <a:p>
                    <a:r>
                      <a:t>40.1</a:t>
                    </a:r>
                  </a:p>
                </c:rich>
              </c:tx>
              <c:showLegendKey val="0"/>
              <c:showVal val="1"/>
              <c:showCatName val="0"/>
              <c:showSerName val="0"/>
              <c:showPercent val="0"/>
              <c:showBubbleSize val="0"/>
            </c:dLbl>
            <c:dLbl>
              <c:idx val="10"/>
              <c:tx>
                <c:rich>
                  <a:bodyPr/>
                  <a:lstStyle/>
                  <a:p>
                    <a:r>
                      <a:t>29.97</a:t>
                    </a:r>
                  </a:p>
                </c:rich>
              </c:tx>
              <c:showLegendKey val="0"/>
              <c:showVal val="1"/>
              <c:showCatName val="0"/>
              <c:showSerName val="0"/>
              <c:showPercent val="0"/>
              <c:showBubbleSize val="0"/>
            </c:dLbl>
            <c:dLbl>
              <c:idx val="11"/>
              <c:tx>
                <c:rich>
                  <a:bodyPr/>
                  <a:lstStyle/>
                  <a:p>
                    <a:r>
                      <a:t>23.89</a:t>
                    </a:r>
                  </a:p>
                </c:rich>
              </c:tx>
              <c:showLegendKey val="0"/>
              <c:showVal val="1"/>
              <c:showCatName val="0"/>
              <c:showSerName val="0"/>
              <c:showPercent val="0"/>
              <c:showBubbleSize val="0"/>
            </c:dLbl>
            <c:dLbl>
              <c:idx val="12"/>
              <c:tx>
                <c:rich>
                  <a:bodyPr/>
                  <a:lstStyle/>
                  <a:p>
                    <a:r>
                      <a:t>9.97</a:t>
                    </a:r>
                  </a:p>
                </c:rich>
              </c:tx>
              <c:showLegendKey val="0"/>
              <c:showVal val="1"/>
              <c:showCatName val="0"/>
              <c:showSerName val="0"/>
              <c:showPercent val="0"/>
              <c:showBubbleSize val="0"/>
            </c:dLbl>
            <c:dLbl>
              <c:idx val="13"/>
              <c:tx>
                <c:rich>
                  <a:bodyPr/>
                  <a:lstStyle/>
                  <a:p>
                    <a:r>
                      <a:t>16.96</a:t>
                    </a:r>
                  </a:p>
                </c:rich>
              </c:tx>
              <c:showLegendKey val="0"/>
              <c:showVal val="1"/>
              <c:showCatName val="0"/>
              <c:showSerName val="0"/>
              <c:showPercent val="0"/>
              <c:showBubbleSize val="0"/>
            </c:dLbl>
            <c:dLbl>
              <c:idx val="14"/>
              <c:tx>
                <c:rich>
                  <a:bodyPr/>
                  <a:lstStyle/>
                  <a:p>
                    <a:r>
                      <a:t>23.97</a:t>
                    </a:r>
                  </a:p>
                </c:rich>
              </c:tx>
              <c:showLegendKey val="0"/>
              <c:showVal val="1"/>
              <c:showCatName val="0"/>
              <c:showSerName val="0"/>
              <c:showPercent val="0"/>
              <c:showBubbleSize val="0"/>
            </c:dLbl>
            <c:dLbl>
              <c:idx val="15"/>
              <c:tx>
                <c:rich>
                  <a:bodyPr/>
                  <a:lstStyle/>
                  <a:p>
                    <a:r>
                      <a:t>16.01</a:t>
                    </a:r>
                  </a:p>
                </c:rich>
              </c:tx>
              <c:showLegendKey val="0"/>
              <c:showVal val="1"/>
              <c:showCatName val="0"/>
              <c:showSerName val="0"/>
              <c:showPercent val="0"/>
              <c:showBubbleSize val="0"/>
            </c:dLbl>
            <c:dLbl>
              <c:idx val="16"/>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REMO 5 BLADE RAZOR NORMAL 2CT</c:v>
                </c:pt>
                <c:pt idx="1">
                  <c:v>CREMO 5 BLADE REFILL NORMAL 4CT</c:v>
                </c:pt>
                <c:pt idx="2">
                  <c:v>BIC FLEX 5 HYBRID 5 BLADE HYBRID NORMAL 4CT</c:v>
                </c:pt>
                <c:pt idx="3">
                  <c:v>BIC SINGLE SENSITIVE 1 BLADE DISPOSABLE SENSITIVE 12CT</c:v>
                </c:pt>
                <c:pt idx="4">
                  <c:v>BIC FLEX 5 HYBRID 5 BLADE HYBRID NORMAL 7CT</c:v>
                </c:pt>
                <c:pt idx="5">
                  <c:v>BIC FLEX 5 HYBRID 5 BLADE HYBRID NORMAL 12CT</c:v>
                </c:pt>
                <c:pt idx="6">
                  <c:v>BIC FLEX 5 BLACK WHITE 5 BLADE DISPOSABLE NORMAL 2CT</c:v>
                </c:pt>
                <c:pt idx="7">
                  <c:v>GILLETTE FUSION 5 5 BLADE REFILL NORMAL 4CT</c:v>
                </c:pt>
                <c:pt idx="8">
                  <c:v>GILLETTE MACH 3 3 BLADE REFILL NORMAL 4CT</c:v>
                </c:pt>
                <c:pt idx="9">
                  <c:v>GILLETTE FUSION 5 5 BLADE REFILL NORMAL 12CT</c:v>
                </c:pt>
                <c:pt idx="10">
                  <c:v>GILLETTE FUSION 5 5 BLADE REFILL NORMAL 8CT</c:v>
                </c:pt>
                <c:pt idx="11">
                  <c:v>GILLETTE FUSION 5 5 BLADE RAZOR NORMAL 5CT</c:v>
                </c:pt>
                <c:pt idx="12">
                  <c:v>HARRY'S 5 BLADE REFILL NORMAL 4CT</c:v>
                </c:pt>
                <c:pt idx="13">
                  <c:v>HARRY'S 5 BLADE REFILL NORMAL 8CT</c:v>
                </c:pt>
                <c:pt idx="14">
                  <c:v>HARRY'S 5 BLADE REFILL NORMAL 12CT</c:v>
                </c:pt>
                <c:pt idx="15">
                  <c:v>HARRY'S ORANGE 5 BLADE RAZOR NORMAL 5CT</c:v>
                </c:pt>
                <c:pt idx="16">
                  <c:v>HARRY'S SURF BLUE 5 BLADE RAZOR NORMAL 2CT</c:v>
                </c:pt>
              </c:strCache>
            </c:strRef>
          </c:cat>
          <c:val>
            <c:numRef>
              <c:f>Sheet1!$B$2:$B$18</c:f>
              <c:numCache>
                <c:formatCode>General</c:formatCode>
                <c:ptCount val="17"/>
                <c:pt idx="0">
                  <c:v>16.85</c:v>
                </c:pt>
                <c:pt idx="1">
                  <c:v>14.99</c:v>
                </c:pt>
                <c:pt idx="2">
                  <c:v>6.92</c:v>
                </c:pt>
                <c:pt idx="3">
                  <c:v>3.43</c:v>
                </c:pt>
                <c:pt idx="4">
                  <c:v>12.82</c:v>
                </c:pt>
                <c:pt idx="5">
                  <c:v>19.98</c:v>
                </c:pt>
                <c:pt idx="6">
                  <c:v>6.94</c:v>
                </c:pt>
                <c:pt idx="7">
                  <c:v>18.42</c:v>
                </c:pt>
                <c:pt idx="8">
                  <c:v>12.46</c:v>
                </c:pt>
                <c:pt idx="9">
                  <c:v>40.1</c:v>
                </c:pt>
                <c:pt idx="10">
                  <c:v>29.97</c:v>
                </c:pt>
                <c:pt idx="11">
                  <c:v>23.89</c:v>
                </c:pt>
                <c:pt idx="12">
                  <c:v>9.97</c:v>
                </c:pt>
                <c:pt idx="13">
                  <c:v>16.96</c:v>
                </c:pt>
                <c:pt idx="14">
                  <c:v>23.97</c:v>
                </c:pt>
                <c:pt idx="15">
                  <c:v>16.01</c:v>
                </c:pt>
                <c:pt idx="16">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2</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2</a:t>
                    </a:r>
                  </a:p>
                </c:rich>
              </c:tx>
              <c:dLblPos val="t"/>
              <c:showLegendKey val="0"/>
              <c:showVal val="1"/>
              <c:showCatName val="0"/>
              <c:showSerName val="0"/>
              <c:showPercent val="0"/>
              <c:showBubbleSize val="0"/>
            </c:dLbl>
            <c:dLbl>
              <c:idx val="6"/>
              <c:tx>
                <c:rich>
                  <a:bodyPr/>
                  <a:lstStyle/>
                  <a:p>
                    <a:r>
                      <a:t>14.86</a:t>
                    </a:r>
                  </a:p>
                </c:rich>
              </c:tx>
              <c:dLblPos val="t"/>
              <c:showLegendKey val="0"/>
              <c:showVal val="1"/>
              <c:showCatName val="0"/>
              <c:showSerName val="0"/>
              <c:showPercent val="0"/>
              <c:showBubbleSize val="0"/>
            </c:dLbl>
            <c:dLbl>
              <c:idx val="7"/>
              <c:tx>
                <c:rich>
                  <a:bodyPr/>
                  <a:lstStyle/>
                  <a:p>
                    <a:r>
                      <a:t>15.58</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27.56</a:t>
                    </a:r>
                  </a:p>
                </c:rich>
              </c:tx>
              <c:dLblPos val="t"/>
              <c:showLegendKey val="0"/>
              <c:showVal val="1"/>
              <c:showCatName val="0"/>
              <c:showSerName val="0"/>
              <c:showPercent val="0"/>
              <c:showBubbleSize val="0"/>
            </c:dLbl>
            <c:dLbl>
              <c:idx val="10"/>
              <c:tx>
                <c:rich>
                  <a:bodyPr/>
                  <a:lstStyle/>
                  <a:p>
                    <a:r>
                      <a:t>11.69</a:t>
                    </a:r>
                  </a:p>
                </c:rich>
              </c:tx>
              <c:dLblPos val="t"/>
              <c:showLegendKey val="0"/>
              <c:showVal val="1"/>
              <c:showCatName val="0"/>
              <c:showSerName val="0"/>
              <c:showPercent val="0"/>
              <c:showBubbleSize val="0"/>
            </c:dLbl>
            <c:dLbl>
              <c:idx val="11"/>
              <c:tx>
                <c:rich>
                  <a:bodyPr/>
                  <a:lstStyle/>
                  <a:p>
                    <a:r>
                      <a:t>17.52</a:t>
                    </a:r>
                  </a:p>
                </c:rich>
              </c:tx>
              <c:dLblPos val="t"/>
              <c:showLegendKey val="0"/>
              <c:showVal val="1"/>
              <c:showCatName val="0"/>
              <c:showSerName val="0"/>
              <c:showPercent val="0"/>
              <c:showBubbleSize val="0"/>
            </c:dLbl>
            <c:dLbl>
              <c:idx val="12"/>
              <c:tx>
                <c:rich>
                  <a:bodyPr/>
                  <a:lstStyle/>
                  <a:p>
                    <a:r>
                      <a:t>14.1</a:t>
                    </a:r>
                  </a:p>
                </c:rich>
              </c:tx>
              <c:dLblPos val="t"/>
              <c:showLegendKey val="0"/>
              <c:showVal val="1"/>
              <c:showCatName val="0"/>
              <c:showSerName val="0"/>
              <c:showPercent val="0"/>
              <c:showBubbleSize val="0"/>
            </c:dLbl>
            <c:dLbl>
              <c:idx val="13"/>
              <c:tx>
                <c:rich>
                  <a:bodyPr/>
                  <a:lstStyle/>
                  <a:p>
                    <a:r>
                      <a:t>12.29</a:t>
                    </a:r>
                  </a:p>
                </c:rich>
              </c:tx>
              <c:dLblPos val="t"/>
              <c:showLegendKey val="0"/>
              <c:showVal val="1"/>
              <c:showCatName val="0"/>
              <c:showSerName val="0"/>
              <c:showPercent val="0"/>
              <c:showBubbleSize val="0"/>
            </c:dLbl>
            <c:dLbl>
              <c:idx val="14"/>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HYDRO 5 SENSITIVE 5 BLADE REFILL SENSITIVE 6CT</c:v>
                </c:pt>
                <c:pt idx="8">
                  <c:v>HYDRO 5 SENSITIVE 5 BLADE RAZOR SENSITIVE 3CT</c:v>
                </c:pt>
                <c:pt idx="9">
                  <c:v>HYDRO 5 SENSITIVE 5 BLADE REFILL SENSITIVE 12CT</c:v>
                </c:pt>
                <c:pt idx="10">
                  <c:v>HYDRO 5 DRY SKIN 5 BLADE RAZOR DRY 3CT</c:v>
                </c:pt>
                <c:pt idx="11">
                  <c:v>HYDRO 5 DRY SKIN 5 BLADE REFILL DRY 6CT</c:v>
                </c:pt>
                <c:pt idx="12">
                  <c:v>SCHICK QUATTRO FOR MEN 4 BLADE REFILL NORMAL 8CT</c:v>
                </c:pt>
                <c:pt idx="13">
                  <c:v>SCHICK QUATTRO FOR MEN 4 BLADE RAZOR NORMAL 4CT</c:v>
                </c:pt>
                <c:pt idx="14">
                  <c:v>HYDRO 5 SENSITIVE GRAY HOLIDAY GIFT PACK 5 BLADE RAZOR SENSITIVE 3CT</c:v>
                </c:pt>
              </c:strCache>
            </c:strRef>
          </c:cat>
          <c:val>
            <c:numRef>
              <c:f>Sheet1!$B$2:$B$16</c:f>
              <c:numCache>
                <c:formatCode>General</c:formatCode>
                <c:ptCount val="15"/>
                <c:pt idx="0">
                  <c:v>7.19</c:v>
                </c:pt>
                <c:pt idx="1">
                  <c:v>7.21</c:v>
                </c:pt>
                <c:pt idx="2">
                  <c:v>11.82</c:v>
                </c:pt>
                <c:pt idx="3">
                  <c:v>20.21</c:v>
                </c:pt>
                <c:pt idx="4">
                  <c:v>15.09</c:v>
                </c:pt>
                <c:pt idx="5">
                  <c:v>11.22</c:v>
                </c:pt>
                <c:pt idx="6">
                  <c:v>14.86</c:v>
                </c:pt>
                <c:pt idx="7">
                  <c:v>15.58</c:v>
                </c:pt>
                <c:pt idx="8">
                  <c:v>10.58</c:v>
                </c:pt>
                <c:pt idx="9">
                  <c:v>27.56</c:v>
                </c:pt>
                <c:pt idx="10">
                  <c:v>11.69</c:v>
                </c:pt>
                <c:pt idx="11">
                  <c:v>17.52</c:v>
                </c:pt>
                <c:pt idx="12">
                  <c:v>14.1</c:v>
                </c:pt>
                <c:pt idx="13">
                  <c:v>12.29</c:v>
                </c:pt>
                <c:pt idx="14">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10.59</a:t>
                    </a:r>
                  </a:p>
                </c:rich>
              </c:tx>
              <c:showLegendKey val="0"/>
              <c:showVal val="1"/>
              <c:showCatName val="0"/>
              <c:showSerName val="0"/>
              <c:showPercent val="0"/>
              <c:showBubbleSize val="0"/>
            </c:dLbl>
            <c:dLbl>
              <c:idx val="2"/>
              <c:tx>
                <c:rich>
                  <a:bodyPr/>
                  <a:lstStyle/>
                  <a:p>
                    <a:r>
                      <a:t>26.91</a:t>
                    </a:r>
                  </a:p>
                </c:rich>
              </c:tx>
              <c:showLegendKey val="0"/>
              <c:showVal val="1"/>
              <c:showCatName val="0"/>
              <c:showSerName val="0"/>
              <c:showPercent val="0"/>
              <c:showBubbleSize val="0"/>
            </c:dLbl>
            <c:dLbl>
              <c:idx val="3"/>
              <c:tx>
                <c:rich>
                  <a:bodyPr/>
                  <a:lstStyle/>
                  <a:p>
                    <a:r>
                      <a:t>16.88</a:t>
                    </a:r>
                  </a:p>
                </c:rich>
              </c:tx>
              <c:showLegendKey val="0"/>
              <c:showVal val="1"/>
              <c:showCatName val="0"/>
              <c:showSerName val="0"/>
              <c:showPercent val="0"/>
              <c:showBubbleSize val="0"/>
            </c:dLbl>
            <c:dLbl>
              <c:idx val="4"/>
              <c:tx>
                <c:rich>
                  <a:bodyPr/>
                  <a:lstStyle/>
                  <a:p>
                    <a:r>
                      <a:t>13.58</a:t>
                    </a:r>
                  </a:p>
                </c:rich>
              </c:tx>
              <c:showLegendKey val="0"/>
              <c:showVal val="1"/>
              <c:showCatName val="0"/>
              <c:showSerName val="0"/>
              <c:showPercent val="0"/>
              <c:showBubbleSize val="0"/>
            </c:dLbl>
            <c:dLbl>
              <c:idx val="5"/>
              <c:tx>
                <c:rich>
                  <a:bodyPr/>
                  <a:lstStyle/>
                  <a:p>
                    <a:r>
                      <a:t>19.45</a:t>
                    </a:r>
                  </a:p>
                </c:rich>
              </c:tx>
              <c:showLegendKey val="0"/>
              <c:showVal val="1"/>
              <c:showCatName val="0"/>
              <c:showSerName val="0"/>
              <c:showPercent val="0"/>
              <c:showBubbleSize val="0"/>
            </c:dLbl>
            <c:dLbl>
              <c:idx val="6"/>
              <c:tx>
                <c:rich>
                  <a:bodyPr/>
                  <a:lstStyle/>
                  <a:p>
                    <a:r>
                      <a:t>42.25</a:t>
                    </a:r>
                  </a:p>
                </c:rich>
              </c:tx>
              <c:showLegendKey val="0"/>
              <c:showVal val="1"/>
              <c:showCatName val="0"/>
              <c:showSerName val="0"/>
              <c:showPercent val="0"/>
              <c:showBubbleSize val="0"/>
            </c:dLbl>
            <c:dLbl>
              <c:idx val="7"/>
              <c:tx>
                <c:rich>
                  <a:bodyPr/>
                  <a:lstStyle/>
                  <a:p>
                    <a:r>
                      <a:t>13.06</a:t>
                    </a:r>
                  </a:p>
                </c:rich>
              </c:tx>
              <c:showLegendKey val="0"/>
              <c:showVal val="1"/>
              <c:showCatName val="0"/>
              <c:showSerName val="0"/>
              <c:showPercent val="0"/>
              <c:showBubbleSize val="0"/>
            </c:dLbl>
            <c:dLbl>
              <c:idx val="8"/>
              <c:tx>
                <c:rich>
                  <a:bodyPr/>
                  <a:lstStyle/>
                  <a:p>
                    <a:r>
                      <a:t>32.12</a:t>
                    </a:r>
                  </a:p>
                </c:rich>
              </c:tx>
              <c:showLegendKey val="0"/>
              <c:showVal val="1"/>
              <c:showCatName val="0"/>
              <c:showSerName val="0"/>
              <c:showPercent val="0"/>
              <c:showBubbleSize val="0"/>
            </c:dLbl>
            <c:dLbl>
              <c:idx val="9"/>
              <c:tx>
                <c:rich>
                  <a:bodyPr/>
                  <a:lstStyle/>
                  <a:p>
                    <a:r>
                      <a:t>42.09</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dLbl>
              <c:idx val="13"/>
              <c:tx>
                <c:rich>
                  <a:bodyPr/>
                  <a:lstStyle/>
                  <a:p>
                    <a:r>
                      <a:t>16.3</a:t>
                    </a:r>
                  </a:p>
                </c:rich>
              </c:tx>
              <c:showLegendKey val="0"/>
              <c:showVal val="1"/>
              <c:showCatName val="0"/>
              <c:showSerName val="0"/>
              <c:showPercent val="0"/>
              <c:showBubbleSize val="0"/>
            </c:dLbl>
            <c:dLbl>
              <c:idx val="14"/>
              <c:tx>
                <c:rich>
                  <a:bodyPr/>
                  <a:lstStyle/>
                  <a:p>
                    <a:r>
                      <a:t>18.77</a:t>
                    </a:r>
                  </a:p>
                </c:rich>
              </c:tx>
              <c:showLegendKey val="0"/>
              <c:showVal val="1"/>
              <c:showCatName val="0"/>
              <c:showSerName val="0"/>
              <c:showPercent val="0"/>
              <c:showBubbleSize val="0"/>
            </c:dLbl>
            <c:dLbl>
              <c:idx val="15"/>
              <c:tx>
                <c:rich>
                  <a:bodyPr/>
                  <a:lstStyle/>
                  <a:p>
                    <a:r>
                      <a:t>45.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YDRO 5 SENSITIVE 5 BLADE REFILL SENSITIVE 6CT</c:v>
                </c:pt>
                <c:pt idx="1">
                  <c:v>HYDRO 5 SENSITIVE 5 BLADE RAZOR SENSITIVE 3CT</c:v>
                </c:pt>
                <c:pt idx="2">
                  <c:v>HYDRO 5 SENSITIVE 5 BLADE REFILL SENSITIVE 12CT</c:v>
                </c:pt>
                <c:pt idx="3">
                  <c:v>HYDRO 5 DRY SKIN 5 BLADE REFILL DRY 6CT</c:v>
                </c:pt>
                <c:pt idx="4">
                  <c:v>SCHICK QUATTRO FOR MEN 4 BLADE REFILL NORMAL 8CT</c:v>
                </c:pt>
                <c:pt idx="5">
                  <c:v>GILLETTE FUSION 5 5 BLADE REFILL NORMAL 4CT</c:v>
                </c:pt>
                <c:pt idx="6">
                  <c:v>GILLETTE FUSION 5 5 BLADE REFILL NORMAL 16CT</c:v>
                </c:pt>
                <c:pt idx="7">
                  <c:v>GILLETTE MACH 3 3 BLADE REFILL NORMAL 4CT</c:v>
                </c:pt>
                <c:pt idx="8">
                  <c:v>GILLETTE FUSION 5 5 BLADE REFILL NORMAL 8CT</c:v>
                </c:pt>
                <c:pt idx="9">
                  <c:v>GILLETTE FUSION 5 5 BLADE REFILL NORMAL 12CT</c:v>
                </c:pt>
                <c:pt idx="10">
                  <c:v>HARRY'S 5 BLADE REFILL NORMAL 4CT</c:v>
                </c:pt>
                <c:pt idx="11">
                  <c:v>HARRY'S 5 BLADE REFILL NORMAL 8CT</c:v>
                </c:pt>
                <c:pt idx="12">
                  <c:v>HARRY'S 5 BLADE REFILL NORMAL 12CT</c:v>
                </c:pt>
                <c:pt idx="13">
                  <c:v>HARRY'S ORANGE 5 BLADE RAZOR NORMAL 5CT</c:v>
                </c:pt>
                <c:pt idx="14">
                  <c:v>HARRY'S SILVER 5 BLADE RAZOR NORMAL 5CT</c:v>
                </c:pt>
                <c:pt idx="15">
                  <c:v>PHILIPS NORELCO ONE BLADE 1 BLADE REFILL NORMAL 5CT</c:v>
                </c:pt>
              </c:strCache>
            </c:strRef>
          </c:cat>
          <c:val>
            <c:numRef>
              <c:f>Sheet1!$B$2:$B$17</c:f>
              <c:numCache>
                <c:formatCode>General</c:formatCode>
                <c:ptCount val="16"/>
                <c:pt idx="0">
                  <c:v>15.22</c:v>
                </c:pt>
                <c:pt idx="1">
                  <c:v>10.59</c:v>
                </c:pt>
                <c:pt idx="2">
                  <c:v>26.91</c:v>
                </c:pt>
                <c:pt idx="3">
                  <c:v>16.88</c:v>
                </c:pt>
                <c:pt idx="4">
                  <c:v>13.58</c:v>
                </c:pt>
                <c:pt idx="5">
                  <c:v>19.45</c:v>
                </c:pt>
                <c:pt idx="6">
                  <c:v>42.25</c:v>
                </c:pt>
                <c:pt idx="7">
                  <c:v>13.06</c:v>
                </c:pt>
                <c:pt idx="8">
                  <c:v>32.12</c:v>
                </c:pt>
                <c:pt idx="9">
                  <c:v>42.09</c:v>
                </c:pt>
                <c:pt idx="10">
                  <c:v>10.19</c:v>
                </c:pt>
                <c:pt idx="11">
                  <c:v>17.2</c:v>
                </c:pt>
                <c:pt idx="12">
                  <c:v>24.64</c:v>
                </c:pt>
                <c:pt idx="13">
                  <c:v>16.3</c:v>
                </c:pt>
                <c:pt idx="14">
                  <c:v>18.77</c:v>
                </c:pt>
                <c:pt idx="15">
                  <c:v>45.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8.46</a:t>
                    </a:r>
                  </a:p>
                </c:rich>
              </c:tx>
              <c:showLegendKey val="0"/>
              <c:showVal val="1"/>
              <c:showCatName val="0"/>
              <c:showSerName val="0"/>
              <c:showPercent val="0"/>
              <c:showBubbleSize val="0"/>
            </c:dLbl>
            <c:dLbl>
              <c:idx val="3"/>
              <c:tx>
                <c:rich>
                  <a:bodyPr/>
                  <a:lstStyle/>
                  <a:p>
                    <a:r>
                      <a:t>15.87</a:t>
                    </a:r>
                  </a:p>
                </c:rich>
              </c:tx>
              <c:showLegendKey val="0"/>
              <c:showVal val="1"/>
              <c:showCatName val="0"/>
              <c:showSerName val="0"/>
              <c:showPercent val="0"/>
              <c:showBubbleSize val="0"/>
            </c:dLbl>
            <c:dLbl>
              <c:idx val="4"/>
              <c:tx>
                <c:rich>
                  <a:bodyPr/>
                  <a:lstStyle/>
                  <a:p>
                    <a:r>
                      <a:t>19.45</a:t>
                    </a:r>
                  </a:p>
                </c:rich>
              </c:tx>
              <c:showLegendKey val="0"/>
              <c:showVal val="1"/>
              <c:showCatName val="0"/>
              <c:showSerName val="0"/>
              <c:showPercent val="0"/>
              <c:showBubbleSize val="0"/>
            </c:dLbl>
            <c:dLbl>
              <c:idx val="5"/>
              <c:tx>
                <c:rich>
                  <a:bodyPr/>
                  <a:lstStyle/>
                  <a:p>
                    <a:r>
                      <a:t>42.25</a:t>
                    </a:r>
                  </a:p>
                </c:rich>
              </c:tx>
              <c:showLegendKey val="0"/>
              <c:showVal val="1"/>
              <c:showCatName val="0"/>
              <c:showSerName val="0"/>
              <c:showPercent val="0"/>
              <c:showBubbleSize val="0"/>
            </c:dLbl>
            <c:dLbl>
              <c:idx val="6"/>
              <c:tx>
                <c:rich>
                  <a:bodyPr/>
                  <a:lstStyle/>
                  <a:p>
                    <a:r>
                      <a:t>13.06</a:t>
                    </a:r>
                  </a:p>
                </c:rich>
              </c:tx>
              <c:showLegendKey val="0"/>
              <c:showVal val="1"/>
              <c:showCatName val="0"/>
              <c:showSerName val="0"/>
              <c:showPercent val="0"/>
              <c:showBubbleSize val="0"/>
            </c:dLbl>
            <c:dLbl>
              <c:idx val="7"/>
              <c:tx>
                <c:rich>
                  <a:bodyPr/>
                  <a:lstStyle/>
                  <a:p>
                    <a:r>
                      <a:t>32.12</a:t>
                    </a:r>
                  </a:p>
                </c:rich>
              </c:tx>
              <c:showLegendKey val="0"/>
              <c:showVal val="1"/>
              <c:showCatName val="0"/>
              <c:showSerName val="0"/>
              <c:showPercent val="0"/>
              <c:showBubbleSize val="0"/>
            </c:dLbl>
            <c:dLbl>
              <c:idx val="8"/>
              <c:tx>
                <c:rich>
                  <a:bodyPr/>
                  <a:lstStyle/>
                  <a:p>
                    <a:r>
                      <a:t>42.09</a:t>
                    </a:r>
                  </a:p>
                </c:rich>
              </c:tx>
              <c:showLegendKey val="0"/>
              <c:showVal val="1"/>
              <c:showCatName val="0"/>
              <c:showSerName val="0"/>
              <c:showPercent val="0"/>
              <c:showBubbleSize val="0"/>
            </c:dLbl>
            <c:dLbl>
              <c:idx val="9"/>
              <c:tx>
                <c:rich>
                  <a:bodyPr/>
                  <a:lstStyle/>
                  <a:p>
                    <a:r>
                      <a:t>10.19</a:t>
                    </a:r>
                  </a:p>
                </c:rich>
              </c:tx>
              <c:showLegendKey val="0"/>
              <c:showVal val="1"/>
              <c:showCatName val="0"/>
              <c:showSerName val="0"/>
              <c:showPercent val="0"/>
              <c:showBubbleSize val="0"/>
            </c:dLbl>
            <c:dLbl>
              <c:idx val="10"/>
              <c:tx>
                <c:rich>
                  <a:bodyPr/>
                  <a:lstStyle/>
                  <a:p>
                    <a:r>
                      <a:t>17.2</a:t>
                    </a:r>
                  </a:p>
                </c:rich>
              </c:tx>
              <c:showLegendKey val="0"/>
              <c:showVal val="1"/>
              <c:showCatName val="0"/>
              <c:showSerName val="0"/>
              <c:showPercent val="0"/>
              <c:showBubbleSize val="0"/>
            </c:dLbl>
            <c:dLbl>
              <c:idx val="11"/>
              <c:tx>
                <c:rich>
                  <a:bodyPr/>
                  <a:lstStyle/>
                  <a:p>
                    <a:r>
                      <a:t>24.64</a:t>
                    </a:r>
                  </a:p>
                </c:rich>
              </c:tx>
              <c:showLegendKey val="0"/>
              <c:showVal val="1"/>
              <c:showCatName val="0"/>
              <c:showSerName val="0"/>
              <c:showPercent val="0"/>
              <c:showBubbleSize val="0"/>
            </c:dLbl>
            <c:dLbl>
              <c:idx val="12"/>
              <c:tx>
                <c:rich>
                  <a:bodyPr/>
                  <a:lstStyle/>
                  <a:p>
                    <a:r>
                      <a:t>16.3</a:t>
                    </a:r>
                  </a:p>
                </c:rich>
              </c:tx>
              <c:showLegendKey val="0"/>
              <c:showVal val="1"/>
              <c:showCatName val="0"/>
              <c:showSerName val="0"/>
              <c:showPercent val="0"/>
              <c:showBubbleSize val="0"/>
            </c:dLbl>
            <c:dLbl>
              <c:idx val="13"/>
              <c:tx>
                <c:rich>
                  <a:bodyPr/>
                  <a:lstStyle/>
                  <a:p>
                    <a:r>
                      <a:t>18.77</a:t>
                    </a:r>
                  </a:p>
                </c:rich>
              </c:tx>
              <c:showLegendKey val="0"/>
              <c:showVal val="1"/>
              <c:showCatName val="0"/>
              <c:showSerName val="0"/>
              <c:showPercent val="0"/>
              <c:showBubbleSize val="0"/>
            </c:dLbl>
            <c:dLbl>
              <c:idx val="14"/>
              <c:tx>
                <c:rich>
                  <a:bodyPr/>
                  <a:lstStyle/>
                  <a:p>
                    <a:r>
                      <a:t>45.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EASY FIT 5 5 BLADE REFILL NORMAL 4CT</c:v>
                </c:pt>
                <c:pt idx="1">
                  <c:v>EQUATE EASY FIT 5 5 BLADE REFILL NORMAL 12CT</c:v>
                </c:pt>
                <c:pt idx="2">
                  <c:v>EQUATE EASY FIT 5 5 BLADE RAZOR NORMAL 2CT</c:v>
                </c:pt>
                <c:pt idx="3">
                  <c:v>EQUATE EASY FIT 5 5 BLADE REFILL NORMAL 8CT</c:v>
                </c:pt>
                <c:pt idx="4">
                  <c:v>GILLETTE FUSION 5 5 BLADE REFILL NORMAL 4CT</c:v>
                </c:pt>
                <c:pt idx="5">
                  <c:v>GILLETTE FUSION 5 5 BLADE REFILL NORMAL 16CT</c:v>
                </c:pt>
                <c:pt idx="6">
                  <c:v>GILLETTE MACH 3 3 BLADE REFILL NORMAL 4CT</c:v>
                </c:pt>
                <c:pt idx="7">
                  <c:v>GILLETTE FUSION 5 5 BLADE REFILL NORMAL 8CT</c:v>
                </c:pt>
                <c:pt idx="8">
                  <c:v>GILLETTE FUSION 5 5 BLADE REFILL NORMAL 12CT</c:v>
                </c:pt>
                <c:pt idx="9">
                  <c:v>HARRY'S 5 BLADE REFILL NORMAL 4CT</c:v>
                </c:pt>
                <c:pt idx="10">
                  <c:v>HARRY'S 5 BLADE REFILL NORMAL 8CT</c:v>
                </c:pt>
                <c:pt idx="11">
                  <c:v>HARRY'S 5 BLADE REFILL NORMAL 12CT</c:v>
                </c:pt>
                <c:pt idx="12">
                  <c:v>HARRY'S ORANGE 5 BLADE RAZOR NORMAL 5CT</c:v>
                </c:pt>
                <c:pt idx="13">
                  <c:v>HARRY'S SILVER 5 BLADE RAZOR NORMAL 5CT</c:v>
                </c:pt>
                <c:pt idx="14">
                  <c:v>PHILIPS NORELCO ONE BLADE 1 BLADE REFILL NORMAL 5CT</c:v>
                </c:pt>
              </c:strCache>
            </c:strRef>
          </c:cat>
          <c:val>
            <c:numRef>
              <c:f>Sheet1!$B$2:$B$16</c:f>
              <c:numCache>
                <c:formatCode>General</c:formatCode>
                <c:ptCount val="15"/>
                <c:pt idx="0">
                  <c:v>8.96</c:v>
                </c:pt>
                <c:pt idx="1">
                  <c:v>20.0</c:v>
                </c:pt>
                <c:pt idx="2">
                  <c:v>8.46</c:v>
                </c:pt>
                <c:pt idx="3">
                  <c:v>15.87</c:v>
                </c:pt>
                <c:pt idx="4">
                  <c:v>19.45</c:v>
                </c:pt>
                <c:pt idx="5">
                  <c:v>42.25</c:v>
                </c:pt>
                <c:pt idx="6">
                  <c:v>13.06</c:v>
                </c:pt>
                <c:pt idx="7">
                  <c:v>32.12</c:v>
                </c:pt>
                <c:pt idx="8">
                  <c:v>42.09</c:v>
                </c:pt>
                <c:pt idx="9">
                  <c:v>10.19</c:v>
                </c:pt>
                <c:pt idx="10">
                  <c:v>17.2</c:v>
                </c:pt>
                <c:pt idx="11">
                  <c:v>24.64</c:v>
                </c:pt>
                <c:pt idx="12">
                  <c:v>16.3</c:v>
                </c:pt>
                <c:pt idx="13">
                  <c:v>18.77</c:v>
                </c:pt>
                <c:pt idx="14">
                  <c:v>45.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15.52</a:t>
                    </a:r>
                  </a:p>
                </c:rich>
              </c:tx>
              <c:showLegendKey val="0"/>
              <c:showVal val="1"/>
              <c:showCatName val="0"/>
              <c:showSerName val="0"/>
              <c:showPercent val="0"/>
              <c:showBubbleSize val="0"/>
            </c:dLbl>
            <c:dLbl>
              <c:idx val="2"/>
              <c:tx>
                <c:rich>
                  <a:bodyPr/>
                  <a:lstStyle/>
                  <a:p>
                    <a:r>
                      <a:t>16.73</a:t>
                    </a:r>
                  </a:p>
                </c:rich>
              </c:tx>
              <c:showLegendKey val="0"/>
              <c:showVal val="1"/>
              <c:showCatName val="0"/>
              <c:showSerName val="0"/>
              <c:showPercent val="0"/>
              <c:showBubbleSize val="0"/>
            </c:dLbl>
            <c:dLbl>
              <c:idx val="3"/>
              <c:tx>
                <c:rich>
                  <a:bodyPr/>
                  <a:lstStyle/>
                  <a:p>
                    <a:r>
                      <a:t>10.6</a:t>
                    </a:r>
                  </a:p>
                </c:rich>
              </c:tx>
              <c:showLegendKey val="0"/>
              <c:showVal val="1"/>
              <c:showCatName val="0"/>
              <c:showSerName val="0"/>
              <c:showPercent val="0"/>
              <c:showBubbleSize val="0"/>
            </c:dLbl>
            <c:dLbl>
              <c:idx val="4"/>
              <c:tx>
                <c:rich>
                  <a:bodyPr/>
                  <a:lstStyle/>
                  <a:p>
                    <a:r>
                      <a:t>19.45</a:t>
                    </a:r>
                  </a:p>
                </c:rich>
              </c:tx>
              <c:showLegendKey val="0"/>
              <c:showVal val="1"/>
              <c:showCatName val="0"/>
              <c:showSerName val="0"/>
              <c:showPercent val="0"/>
              <c:showBubbleSize val="0"/>
            </c:dLbl>
            <c:dLbl>
              <c:idx val="5"/>
              <c:tx>
                <c:rich>
                  <a:bodyPr/>
                  <a:lstStyle/>
                  <a:p>
                    <a:r>
                      <a:t>42.25</a:t>
                    </a:r>
                  </a:p>
                </c:rich>
              </c:tx>
              <c:showLegendKey val="0"/>
              <c:showVal val="1"/>
              <c:showCatName val="0"/>
              <c:showSerName val="0"/>
              <c:showPercent val="0"/>
              <c:showBubbleSize val="0"/>
            </c:dLbl>
            <c:dLbl>
              <c:idx val="6"/>
              <c:tx>
                <c:rich>
                  <a:bodyPr/>
                  <a:lstStyle/>
                  <a:p>
                    <a:r>
                      <a:t>13.06</a:t>
                    </a:r>
                  </a:p>
                </c:rich>
              </c:tx>
              <c:showLegendKey val="0"/>
              <c:showVal val="1"/>
              <c:showCatName val="0"/>
              <c:showSerName val="0"/>
              <c:showPercent val="0"/>
              <c:showBubbleSize val="0"/>
            </c:dLbl>
            <c:dLbl>
              <c:idx val="7"/>
              <c:tx>
                <c:rich>
                  <a:bodyPr/>
                  <a:lstStyle/>
                  <a:p>
                    <a:r>
                      <a:t>32.12</a:t>
                    </a:r>
                  </a:p>
                </c:rich>
              </c:tx>
              <c:showLegendKey val="0"/>
              <c:showVal val="1"/>
              <c:showCatName val="0"/>
              <c:showSerName val="0"/>
              <c:showPercent val="0"/>
              <c:showBubbleSize val="0"/>
            </c:dLbl>
            <c:dLbl>
              <c:idx val="8"/>
              <c:tx>
                <c:rich>
                  <a:bodyPr/>
                  <a:lstStyle/>
                  <a:p>
                    <a:r>
                      <a:t>42.09</a:t>
                    </a:r>
                  </a:p>
                </c:rich>
              </c:tx>
              <c:showLegendKey val="0"/>
              <c:showVal val="1"/>
              <c:showCatName val="0"/>
              <c:showSerName val="0"/>
              <c:showPercent val="0"/>
              <c:showBubbleSize val="0"/>
            </c:dLbl>
            <c:dLbl>
              <c:idx val="9"/>
              <c:tx>
                <c:rich>
                  <a:bodyPr/>
                  <a:lstStyle/>
                  <a:p>
                    <a:r>
                      <a:t>10.19</a:t>
                    </a:r>
                  </a:p>
                </c:rich>
              </c:tx>
              <c:showLegendKey val="0"/>
              <c:showVal val="1"/>
              <c:showCatName val="0"/>
              <c:showSerName val="0"/>
              <c:showPercent val="0"/>
              <c:showBubbleSize val="0"/>
            </c:dLbl>
            <c:dLbl>
              <c:idx val="10"/>
              <c:tx>
                <c:rich>
                  <a:bodyPr/>
                  <a:lstStyle/>
                  <a:p>
                    <a:r>
                      <a:t>17.2</a:t>
                    </a:r>
                  </a:p>
                </c:rich>
              </c:tx>
              <c:showLegendKey val="0"/>
              <c:showVal val="1"/>
              <c:showCatName val="0"/>
              <c:showSerName val="0"/>
              <c:showPercent val="0"/>
              <c:showBubbleSize val="0"/>
            </c:dLbl>
            <c:dLbl>
              <c:idx val="11"/>
              <c:tx>
                <c:rich>
                  <a:bodyPr/>
                  <a:lstStyle/>
                  <a:p>
                    <a:r>
                      <a:t>24.64</a:t>
                    </a:r>
                  </a:p>
                </c:rich>
              </c:tx>
              <c:showLegendKey val="0"/>
              <c:showVal val="1"/>
              <c:showCatName val="0"/>
              <c:showSerName val="0"/>
              <c:showPercent val="0"/>
              <c:showBubbleSize val="0"/>
            </c:dLbl>
            <c:dLbl>
              <c:idx val="12"/>
              <c:tx>
                <c:rich>
                  <a:bodyPr/>
                  <a:lstStyle/>
                  <a:p>
                    <a:r>
                      <a:t>16.3</a:t>
                    </a:r>
                  </a:p>
                </c:rich>
              </c:tx>
              <c:showLegendKey val="0"/>
              <c:showVal val="1"/>
              <c:showCatName val="0"/>
              <c:showSerName val="0"/>
              <c:showPercent val="0"/>
              <c:showBubbleSize val="0"/>
            </c:dLbl>
            <c:dLbl>
              <c:idx val="13"/>
              <c:tx>
                <c:rich>
                  <a:bodyPr/>
                  <a:lstStyle/>
                  <a:p>
                    <a:r>
                      <a:t>18.77</a:t>
                    </a:r>
                  </a:p>
                </c:rich>
              </c:tx>
              <c:showLegendKey val="0"/>
              <c:showVal val="1"/>
              <c:showCatName val="0"/>
              <c:showSerName val="0"/>
              <c:showPercent val="0"/>
              <c:showBubbleSize val="0"/>
            </c:dLbl>
            <c:dLbl>
              <c:idx val="14"/>
              <c:tx>
                <c:rich>
                  <a:bodyPr/>
                  <a:lstStyle/>
                  <a:p>
                    <a:r>
                      <a:t>45.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REMO 5 BLADE REFILL NORMAL 4CT</c:v>
                </c:pt>
                <c:pt idx="1">
                  <c:v>CREMO 5 BLADE RAZOR NORMAL 2CT</c:v>
                </c:pt>
                <c:pt idx="2">
                  <c:v>CREMO SILVER HOLIDAY GIFT PACK REM BLADES RAZOR 5CT</c:v>
                </c:pt>
                <c:pt idx="3">
                  <c:v>CREMO SILVER HOLIDAY GIFT PACK 5 BLADE RAZOR 5CT</c:v>
                </c:pt>
                <c:pt idx="4">
                  <c:v>GILLETTE FUSION 5 5 BLADE REFILL NORMAL 4CT</c:v>
                </c:pt>
                <c:pt idx="5">
                  <c:v>GILLETTE FUSION 5 5 BLADE REFILL NORMAL 16CT</c:v>
                </c:pt>
                <c:pt idx="6">
                  <c:v>GILLETTE MACH 3 3 BLADE REFILL NORMAL 4CT</c:v>
                </c:pt>
                <c:pt idx="7">
                  <c:v>GILLETTE FUSION 5 5 BLADE REFILL NORMAL 8CT</c:v>
                </c:pt>
                <c:pt idx="8">
                  <c:v>GILLETTE FUSION 5 5 BLADE REFILL NORMAL 12CT</c:v>
                </c:pt>
                <c:pt idx="9">
                  <c:v>HARRY'S 5 BLADE REFILL NORMAL 4CT</c:v>
                </c:pt>
                <c:pt idx="10">
                  <c:v>HARRY'S 5 BLADE REFILL NORMAL 8CT</c:v>
                </c:pt>
                <c:pt idx="11">
                  <c:v>HARRY'S 5 BLADE REFILL NORMAL 12CT</c:v>
                </c:pt>
                <c:pt idx="12">
                  <c:v>HARRY'S ORANGE 5 BLADE RAZOR NORMAL 5CT</c:v>
                </c:pt>
                <c:pt idx="13">
                  <c:v>HARRY'S SILVER 5 BLADE RAZOR NORMAL 5CT</c:v>
                </c:pt>
                <c:pt idx="14">
                  <c:v>PHILIPS NORELCO ONE BLADE 1 BLADE REFILL NORMAL 5CT</c:v>
                </c:pt>
              </c:strCache>
            </c:strRef>
          </c:cat>
          <c:val>
            <c:numRef>
              <c:f>Sheet1!$B$2:$B$16</c:f>
              <c:numCache>
                <c:formatCode>General</c:formatCode>
                <c:ptCount val="15"/>
                <c:pt idx="0">
                  <c:v>13.9</c:v>
                </c:pt>
                <c:pt idx="1">
                  <c:v>15.52</c:v>
                </c:pt>
                <c:pt idx="2">
                  <c:v>16.73</c:v>
                </c:pt>
                <c:pt idx="3">
                  <c:v>10.6</c:v>
                </c:pt>
                <c:pt idx="4">
                  <c:v>19.45</c:v>
                </c:pt>
                <c:pt idx="5">
                  <c:v>42.25</c:v>
                </c:pt>
                <c:pt idx="6">
                  <c:v>13.06</c:v>
                </c:pt>
                <c:pt idx="7">
                  <c:v>32.12</c:v>
                </c:pt>
                <c:pt idx="8">
                  <c:v>42.09</c:v>
                </c:pt>
                <c:pt idx="9">
                  <c:v>10.19</c:v>
                </c:pt>
                <c:pt idx="10">
                  <c:v>17.2</c:v>
                </c:pt>
                <c:pt idx="11">
                  <c:v>24.64</c:v>
                </c:pt>
                <c:pt idx="12">
                  <c:v>16.3</c:v>
                </c:pt>
                <c:pt idx="13">
                  <c:v>18.77</c:v>
                </c:pt>
                <c:pt idx="14">
                  <c:v>45.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dLbl>
              <c:idx val="2"/>
              <c:tx>
                <c:rich>
                  <a:bodyPr/>
                  <a:lstStyle/>
                  <a:p>
                    <a:r>
                      <a:t>26.51</a:t>
                    </a:r>
                  </a:p>
                </c:rich>
              </c:tx>
              <c:showLegendKey val="0"/>
              <c:showVal val="1"/>
              <c:showCatName val="0"/>
              <c:showSerName val="0"/>
              <c:showPercent val="0"/>
              <c:showBubbleSize val="0"/>
            </c:dLbl>
            <c:dLbl>
              <c:idx val="3"/>
              <c:tx>
                <c:rich>
                  <a:bodyPr/>
                  <a:lstStyle/>
                  <a:p>
                    <a:r>
                      <a:t>9.53</a:t>
                    </a:r>
                  </a:p>
                </c:rich>
              </c:tx>
              <c:showLegendKey val="0"/>
              <c:showVal val="1"/>
              <c:showCatName val="0"/>
              <c:showSerName val="0"/>
              <c:showPercent val="0"/>
              <c:showBubbleSize val="0"/>
            </c:dLbl>
            <c:dLbl>
              <c:idx val="4"/>
              <c:tx>
                <c:rich>
                  <a:bodyPr/>
                  <a:lstStyle/>
                  <a:p>
                    <a:r>
                      <a:t>9.99</a:t>
                    </a:r>
                  </a:p>
                </c:rich>
              </c:tx>
              <c:showLegendKey val="0"/>
              <c:showVal val="1"/>
              <c:showCatName val="0"/>
              <c:showSerName val="0"/>
              <c:showPercent val="0"/>
              <c:showBubbleSize val="0"/>
            </c:dLbl>
            <c:dLbl>
              <c:idx val="5"/>
              <c:tx>
                <c:rich>
                  <a:bodyPr/>
                  <a:lstStyle/>
                  <a:p>
                    <a:r>
                      <a:t>18.42</a:t>
                    </a:r>
                  </a:p>
                </c:rich>
              </c:tx>
              <c:showLegendKey val="0"/>
              <c:showVal val="1"/>
              <c:showCatName val="0"/>
              <c:showSerName val="0"/>
              <c:showPercent val="0"/>
              <c:showBubbleSize val="0"/>
            </c:dLbl>
            <c:dLbl>
              <c:idx val="6"/>
              <c:tx>
                <c:rich>
                  <a:bodyPr/>
                  <a:lstStyle/>
                  <a:p>
                    <a:r>
                      <a:t>12.46</a:t>
                    </a:r>
                  </a:p>
                </c:rich>
              </c:tx>
              <c:showLegendKey val="0"/>
              <c:showVal val="1"/>
              <c:showCatName val="0"/>
              <c:showSerName val="0"/>
              <c:showPercent val="0"/>
              <c:showBubbleSize val="0"/>
            </c:dLbl>
            <c:dLbl>
              <c:idx val="7"/>
              <c:tx>
                <c:rich>
                  <a:bodyPr/>
                  <a:lstStyle/>
                  <a:p>
                    <a:r>
                      <a:t>40.1</a:t>
                    </a:r>
                  </a:p>
                </c:rich>
              </c:tx>
              <c:showLegendKey val="0"/>
              <c:showVal val="1"/>
              <c:showCatName val="0"/>
              <c:showSerName val="0"/>
              <c:showPercent val="0"/>
              <c:showBubbleSize val="0"/>
            </c:dLbl>
            <c:dLbl>
              <c:idx val="8"/>
              <c:tx>
                <c:rich>
                  <a:bodyPr/>
                  <a:lstStyle/>
                  <a:p>
                    <a:r>
                      <a:t>29.97</a:t>
                    </a:r>
                  </a:p>
                </c:rich>
              </c:tx>
              <c:showLegendKey val="0"/>
              <c:showVal val="1"/>
              <c:showCatName val="0"/>
              <c:showSerName val="0"/>
              <c:showPercent val="0"/>
              <c:showBubbleSize val="0"/>
            </c:dLbl>
            <c:dLbl>
              <c:idx val="9"/>
              <c:tx>
                <c:rich>
                  <a:bodyPr/>
                  <a:lstStyle/>
                  <a:p>
                    <a:r>
                      <a:t>23.89</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6.96</a:t>
                    </a:r>
                  </a:p>
                </c:rich>
              </c:tx>
              <c:showLegendKey val="0"/>
              <c:showVal val="1"/>
              <c:showCatName val="0"/>
              <c:showSerName val="0"/>
              <c:showPercent val="0"/>
              <c:showBubbleSize val="0"/>
            </c:dLbl>
            <c:dLbl>
              <c:idx val="12"/>
              <c:tx>
                <c:rich>
                  <a:bodyPr/>
                  <a:lstStyle/>
                  <a:p>
                    <a:r>
                      <a:t>23.97</a:t>
                    </a:r>
                  </a:p>
                </c:rich>
              </c:tx>
              <c:showLegendKey val="0"/>
              <c:showVal val="1"/>
              <c:showCatName val="0"/>
              <c:showSerName val="0"/>
              <c:showPercent val="0"/>
              <c:showBubbleSize val="0"/>
            </c:dLbl>
            <c:dLbl>
              <c:idx val="13"/>
              <c:tx>
                <c:rich>
                  <a:bodyPr/>
                  <a:lstStyle/>
                  <a:p>
                    <a:r>
                      <a:t>16.01</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AZOR SENSITIVE 3CT</c:v>
                </c:pt>
                <c:pt idx="2">
                  <c:v>HYDRO 5 SENSITIVE 5 BLADE REFILL SENSITIVE 12CT</c:v>
                </c:pt>
                <c:pt idx="3">
                  <c:v>SCHICK HYDRO 3 SENSITIVE 3 BLADE REFILL SENSITIVE 5CT</c:v>
                </c:pt>
                <c:pt idx="4">
                  <c:v>HYDRO 5 SENSITIVE GRAY HOLIDAY GIFT PACK 5 BLADE RAZOR SENSITIVE 3CT</c:v>
                </c:pt>
                <c:pt idx="5">
                  <c:v>GILLETTE FUSION 5 5 BLADE REFILL NORMAL 4CT</c:v>
                </c:pt>
                <c:pt idx="6">
                  <c:v>GILLETTE MACH 3 3 BLADE REFILL NORMAL 4CT</c:v>
                </c:pt>
                <c:pt idx="7">
                  <c:v>GILLETTE FUSION 5 5 BLADE REFILL NORMAL 12CT</c:v>
                </c:pt>
                <c:pt idx="8">
                  <c:v>GILLETTE FUSION 5 5 BLADE REFILL NORMAL 8CT</c:v>
                </c:pt>
                <c:pt idx="9">
                  <c:v>GILLETTE FUSION 5 5 BLADE RAZOR NORMAL 5CT</c:v>
                </c:pt>
                <c:pt idx="10">
                  <c:v>HARRY'S 5 BLADE REFILL NORMAL 4CT</c:v>
                </c:pt>
                <c:pt idx="11">
                  <c:v>HARRY'S 5 BLADE REFILL NORMAL 8CT</c:v>
                </c:pt>
                <c:pt idx="12">
                  <c:v>HARRY'S 5 BLADE REFILL NORMAL 12CT</c:v>
                </c:pt>
                <c:pt idx="13">
                  <c:v>HARRY'S ORANGE 5 BLADE RAZOR NORMAL 5CT</c:v>
                </c:pt>
                <c:pt idx="14">
                  <c:v>HARRY'S SURF BLUE 5 BLADE RAZOR NORMAL 2CT</c:v>
                </c:pt>
              </c:strCache>
            </c:strRef>
          </c:cat>
          <c:val>
            <c:numRef>
              <c:f>Sheet1!$B$2:$B$16</c:f>
              <c:numCache>
                <c:formatCode>General</c:formatCode>
                <c:ptCount val="15"/>
                <c:pt idx="0">
                  <c:v>14.73</c:v>
                </c:pt>
                <c:pt idx="1">
                  <c:v>9.96</c:v>
                </c:pt>
                <c:pt idx="2">
                  <c:v>26.51</c:v>
                </c:pt>
                <c:pt idx="3">
                  <c:v>9.53</c:v>
                </c:pt>
                <c:pt idx="4">
                  <c:v>9.99</c:v>
                </c:pt>
                <c:pt idx="5">
                  <c:v>18.42</c:v>
                </c:pt>
                <c:pt idx="6">
                  <c:v>12.46</c:v>
                </c:pt>
                <c:pt idx="7">
                  <c:v>40.1</c:v>
                </c:pt>
                <c:pt idx="8">
                  <c:v>29.97</c:v>
                </c:pt>
                <c:pt idx="9">
                  <c:v>23.89</c:v>
                </c:pt>
                <c:pt idx="10">
                  <c:v>9.97</c:v>
                </c:pt>
                <c:pt idx="11">
                  <c:v>16.96</c:v>
                </c:pt>
                <c:pt idx="12">
                  <c:v>23.97</c:v>
                </c:pt>
                <c:pt idx="13">
                  <c:v>16.01</c:v>
                </c:pt>
                <c:pt idx="14">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8.46</a:t>
                    </a:r>
                  </a:p>
                </c:rich>
              </c:tx>
              <c:showLegendKey val="0"/>
              <c:showVal val="1"/>
              <c:showCatName val="0"/>
              <c:showSerName val="0"/>
              <c:showPercent val="0"/>
              <c:showBubbleSize val="0"/>
            </c:dLbl>
            <c:dLbl>
              <c:idx val="3"/>
              <c:tx>
                <c:rich>
                  <a:bodyPr/>
                  <a:lstStyle/>
                  <a:p>
                    <a:r>
                      <a:t>15.85</a:t>
                    </a:r>
                  </a:p>
                </c:rich>
              </c:tx>
              <c:showLegendKey val="0"/>
              <c:showVal val="1"/>
              <c:showCatName val="0"/>
              <c:showSerName val="0"/>
              <c:showPercent val="0"/>
              <c:showBubbleSize val="0"/>
            </c:dLbl>
            <c:dLbl>
              <c:idx val="4"/>
              <c:tx>
                <c:rich>
                  <a:bodyPr/>
                  <a:lstStyle/>
                  <a:p>
                    <a:r>
                      <a:t>18.42</a:t>
                    </a:r>
                  </a:p>
                </c:rich>
              </c:tx>
              <c:showLegendKey val="0"/>
              <c:showVal val="1"/>
              <c:showCatName val="0"/>
              <c:showSerName val="0"/>
              <c:showPercent val="0"/>
              <c:showBubbleSize val="0"/>
            </c:dLbl>
            <c:dLbl>
              <c:idx val="5"/>
              <c:tx>
                <c:rich>
                  <a:bodyPr/>
                  <a:lstStyle/>
                  <a:p>
                    <a:r>
                      <a:t>12.46</a:t>
                    </a:r>
                  </a:p>
                </c:rich>
              </c:tx>
              <c:showLegendKey val="0"/>
              <c:showVal val="1"/>
              <c:showCatName val="0"/>
              <c:showSerName val="0"/>
              <c:showPercent val="0"/>
              <c:showBubbleSize val="0"/>
            </c:dLbl>
            <c:dLbl>
              <c:idx val="6"/>
              <c:tx>
                <c:rich>
                  <a:bodyPr/>
                  <a:lstStyle/>
                  <a:p>
                    <a:r>
                      <a:t>40.1</a:t>
                    </a:r>
                  </a:p>
                </c:rich>
              </c:tx>
              <c:showLegendKey val="0"/>
              <c:showVal val="1"/>
              <c:showCatName val="0"/>
              <c:showSerName val="0"/>
              <c:showPercent val="0"/>
              <c:showBubbleSize val="0"/>
            </c:dLbl>
            <c:dLbl>
              <c:idx val="7"/>
              <c:tx>
                <c:rich>
                  <a:bodyPr/>
                  <a:lstStyle/>
                  <a:p>
                    <a:r>
                      <a:t>29.97</a:t>
                    </a:r>
                  </a:p>
                </c:rich>
              </c:tx>
              <c:showLegendKey val="0"/>
              <c:showVal val="1"/>
              <c:showCatName val="0"/>
              <c:showSerName val="0"/>
              <c:showPercent val="0"/>
              <c:showBubbleSize val="0"/>
            </c:dLbl>
            <c:dLbl>
              <c:idx val="8"/>
              <c:tx>
                <c:rich>
                  <a:bodyPr/>
                  <a:lstStyle/>
                  <a:p>
                    <a:r>
                      <a:t>23.89</a:t>
                    </a:r>
                  </a:p>
                </c:rich>
              </c:tx>
              <c:showLegendKey val="0"/>
              <c:showVal val="1"/>
              <c:showCatName val="0"/>
              <c:showSerName val="0"/>
              <c:showPercent val="0"/>
              <c:showBubbleSize val="0"/>
            </c:dLbl>
            <c:dLbl>
              <c:idx val="9"/>
              <c:tx>
                <c:rich>
                  <a:bodyPr/>
                  <a:lstStyle/>
                  <a:p>
                    <a:r>
                      <a:t>9.97</a:t>
                    </a:r>
                  </a:p>
                </c:rich>
              </c:tx>
              <c:showLegendKey val="0"/>
              <c:showVal val="1"/>
              <c:showCatName val="0"/>
              <c:showSerName val="0"/>
              <c:showPercent val="0"/>
              <c:showBubbleSize val="0"/>
            </c:dLbl>
            <c:dLbl>
              <c:idx val="10"/>
              <c:tx>
                <c:rich>
                  <a:bodyPr/>
                  <a:lstStyle/>
                  <a:p>
                    <a:r>
                      <a:t>16.96</a:t>
                    </a:r>
                  </a:p>
                </c:rich>
              </c:tx>
              <c:showLegendKey val="0"/>
              <c:showVal val="1"/>
              <c:showCatName val="0"/>
              <c:showSerName val="0"/>
              <c:showPercent val="0"/>
              <c:showBubbleSize val="0"/>
            </c:dLbl>
            <c:dLbl>
              <c:idx val="11"/>
              <c:tx>
                <c:rich>
                  <a:bodyPr/>
                  <a:lstStyle/>
                  <a:p>
                    <a:r>
                      <a:t>23.97</a:t>
                    </a:r>
                  </a:p>
                </c:rich>
              </c:tx>
              <c:showLegendKey val="0"/>
              <c:showVal val="1"/>
              <c:showCatName val="0"/>
              <c:showSerName val="0"/>
              <c:showPercent val="0"/>
              <c:showBubbleSize val="0"/>
            </c:dLbl>
            <c:dLbl>
              <c:idx val="12"/>
              <c:tx>
                <c:rich>
                  <a:bodyPr/>
                  <a:lstStyle/>
                  <a:p>
                    <a:r>
                      <a:t>16.01</a:t>
                    </a:r>
                  </a:p>
                </c:rich>
              </c:tx>
              <c:showLegendKey val="0"/>
              <c:showVal val="1"/>
              <c:showCatName val="0"/>
              <c:showSerName val="0"/>
              <c:showPercent val="0"/>
              <c:showBubbleSize val="0"/>
            </c:dLbl>
            <c:dLbl>
              <c:idx val="13"/>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QUATE EASY FIT 5 5 BLADE REFILL NORMAL 4CT</c:v>
                </c:pt>
                <c:pt idx="1">
                  <c:v>EQUATE EASY FIT 5 5 BLADE REFILL NORMAL 12CT</c:v>
                </c:pt>
                <c:pt idx="2">
                  <c:v>EQUATE EASY FIT 5 5 BLADE RAZOR NORMAL 2CT</c:v>
                </c:pt>
                <c:pt idx="3">
                  <c:v>EQUATE EASY FIT 5 5 BLADE REFILL NORMAL 8CT</c:v>
                </c:pt>
                <c:pt idx="4">
                  <c:v>GILLETTE FUSION 5 5 BLADE REFILL NORMAL 4CT</c:v>
                </c:pt>
                <c:pt idx="5">
                  <c:v>GILLETTE MACH 3 3 BLADE REFILL NORMAL 4CT</c:v>
                </c:pt>
                <c:pt idx="6">
                  <c:v>GILLETTE FUSION 5 5 BLADE REFILL NORMAL 12CT</c:v>
                </c:pt>
                <c:pt idx="7">
                  <c:v>GILLETTE FUSION 5 5 BLADE REFILL NORMAL 8CT</c:v>
                </c:pt>
                <c:pt idx="8">
                  <c:v>GILLETTE FUSION 5 5 BLADE RAZOR NORMAL 5CT</c:v>
                </c:pt>
                <c:pt idx="9">
                  <c:v>HARRY'S 5 BLADE REFILL NORMAL 4CT</c:v>
                </c:pt>
                <c:pt idx="10">
                  <c:v>HARRY'S 5 BLADE REFILL NORMAL 8CT</c:v>
                </c:pt>
                <c:pt idx="11">
                  <c:v>HARRY'S 5 BLADE REFILL NORMAL 12CT</c:v>
                </c:pt>
                <c:pt idx="12">
                  <c:v>HARRY'S ORANGE 5 BLADE RAZOR NORMAL 5CT</c:v>
                </c:pt>
                <c:pt idx="13">
                  <c:v>HARRY'S SURF BLUE 5 BLADE RAZOR NORMAL 2CT</c:v>
                </c:pt>
              </c:strCache>
            </c:strRef>
          </c:cat>
          <c:val>
            <c:numRef>
              <c:f>Sheet1!$B$2:$B$15</c:f>
              <c:numCache>
                <c:formatCode>General</c:formatCode>
                <c:ptCount val="14"/>
                <c:pt idx="0">
                  <c:v>8.96</c:v>
                </c:pt>
                <c:pt idx="1">
                  <c:v>20.0</c:v>
                </c:pt>
                <c:pt idx="2">
                  <c:v>8.46</c:v>
                </c:pt>
                <c:pt idx="3">
                  <c:v>15.85</c:v>
                </c:pt>
                <c:pt idx="4">
                  <c:v>18.42</c:v>
                </c:pt>
                <c:pt idx="5">
                  <c:v>12.46</c:v>
                </c:pt>
                <c:pt idx="6">
                  <c:v>40.1</c:v>
                </c:pt>
                <c:pt idx="7">
                  <c:v>29.97</c:v>
                </c:pt>
                <c:pt idx="8">
                  <c:v>23.89</c:v>
                </c:pt>
                <c:pt idx="9">
                  <c:v>9.97</c:v>
                </c:pt>
                <c:pt idx="10">
                  <c:v>16.96</c:v>
                </c:pt>
                <c:pt idx="11">
                  <c:v>23.97</c:v>
                </c:pt>
                <c:pt idx="12">
                  <c:v>16.01</c:v>
                </c:pt>
                <c:pt idx="13">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14.99</a:t>
                    </a:r>
                  </a:p>
                </c:rich>
              </c:tx>
              <c:showLegendKey val="0"/>
              <c:showVal val="1"/>
              <c:showCatName val="0"/>
              <c:showSerName val="0"/>
              <c:showPercent val="0"/>
              <c:showBubbleSize val="0"/>
            </c:dLbl>
            <c:dLbl>
              <c:idx val="2"/>
              <c:tx>
                <c:rich>
                  <a:bodyPr/>
                  <a:lstStyle/>
                  <a:p>
                    <a:r>
                      <a:t>18.42</a:t>
                    </a:r>
                  </a:p>
                </c:rich>
              </c:tx>
              <c:showLegendKey val="0"/>
              <c:showVal val="1"/>
              <c:showCatName val="0"/>
              <c:showSerName val="0"/>
              <c:showPercent val="0"/>
              <c:showBubbleSize val="0"/>
            </c:dLbl>
            <c:dLbl>
              <c:idx val="3"/>
              <c:tx>
                <c:rich>
                  <a:bodyPr/>
                  <a:lstStyle/>
                  <a:p>
                    <a:r>
                      <a:t>12.46</a:t>
                    </a:r>
                  </a:p>
                </c:rich>
              </c:tx>
              <c:showLegendKey val="0"/>
              <c:showVal val="1"/>
              <c:showCatName val="0"/>
              <c:showSerName val="0"/>
              <c:showPercent val="0"/>
              <c:showBubbleSize val="0"/>
            </c:dLbl>
            <c:dLbl>
              <c:idx val="4"/>
              <c:tx>
                <c:rich>
                  <a:bodyPr/>
                  <a:lstStyle/>
                  <a:p>
                    <a:r>
                      <a:t>40.1</a:t>
                    </a:r>
                  </a:p>
                </c:rich>
              </c:tx>
              <c:showLegendKey val="0"/>
              <c:showVal val="1"/>
              <c:showCatName val="0"/>
              <c:showSerName val="0"/>
              <c:showPercent val="0"/>
              <c:showBubbleSize val="0"/>
            </c:dLbl>
            <c:dLbl>
              <c:idx val="5"/>
              <c:tx>
                <c:rich>
                  <a:bodyPr/>
                  <a:lstStyle/>
                  <a:p>
                    <a:r>
                      <a:t>29.97</a:t>
                    </a:r>
                  </a:p>
                </c:rich>
              </c:tx>
              <c:showLegendKey val="0"/>
              <c:showVal val="1"/>
              <c:showCatName val="0"/>
              <c:showSerName val="0"/>
              <c:showPercent val="0"/>
              <c:showBubbleSize val="0"/>
            </c:dLbl>
            <c:dLbl>
              <c:idx val="6"/>
              <c:tx>
                <c:rich>
                  <a:bodyPr/>
                  <a:lstStyle/>
                  <a:p>
                    <a:r>
                      <a:t>23.89</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6.96</a:t>
                    </a:r>
                  </a:p>
                </c:rich>
              </c:tx>
              <c:showLegendKey val="0"/>
              <c:showVal val="1"/>
              <c:showCatName val="0"/>
              <c:showSerName val="0"/>
              <c:showPercent val="0"/>
              <c:showBubbleSize val="0"/>
            </c:dLbl>
            <c:dLbl>
              <c:idx val="9"/>
              <c:tx>
                <c:rich>
                  <a:bodyPr/>
                  <a:lstStyle/>
                  <a:p>
                    <a:r>
                      <a:t>23.97</a:t>
                    </a:r>
                  </a:p>
                </c:rich>
              </c:tx>
              <c:showLegendKey val="0"/>
              <c:showVal val="1"/>
              <c:showCatName val="0"/>
              <c:showSerName val="0"/>
              <c:showPercent val="0"/>
              <c:showBubbleSize val="0"/>
            </c:dLbl>
            <c:dLbl>
              <c:idx val="10"/>
              <c:tx>
                <c:rich>
                  <a:bodyPr/>
                  <a:lstStyle/>
                  <a:p>
                    <a:r>
                      <a:t>16.01</a:t>
                    </a:r>
                  </a:p>
                </c:rich>
              </c:tx>
              <c:showLegendKey val="0"/>
              <c:showVal val="1"/>
              <c:showCatName val="0"/>
              <c:showSerName val="0"/>
              <c:showPercent val="0"/>
              <c:showBubbleSize val="0"/>
            </c:dLbl>
            <c:dLbl>
              <c:idx val="11"/>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REMO 5 BLADE RAZOR NORMAL 2CT</c:v>
                </c:pt>
                <c:pt idx="1">
                  <c:v>CREMO 5 BLADE REFILL NORMAL 4CT</c:v>
                </c:pt>
                <c:pt idx="2">
                  <c:v>GILLETTE FUSION 5 5 BLADE REFILL NORMAL 4CT</c:v>
                </c:pt>
                <c:pt idx="3">
                  <c:v>GILLETTE MACH 3 3 BLADE REFILL NORMAL 4CT</c:v>
                </c:pt>
                <c:pt idx="4">
                  <c:v>GILLETTE FUSION 5 5 BLADE REFILL NORMAL 12CT</c:v>
                </c:pt>
                <c:pt idx="5">
                  <c:v>GILLETTE FUSION 5 5 BLADE REFILL NORMAL 8CT</c:v>
                </c:pt>
                <c:pt idx="6">
                  <c:v>GILLETTE FUSION 5 5 BLADE RAZOR NORMAL 5CT</c:v>
                </c:pt>
                <c:pt idx="7">
                  <c:v>HARRY'S 5 BLADE REFILL NORMAL 4CT</c:v>
                </c:pt>
                <c:pt idx="8">
                  <c:v>HARRY'S 5 BLADE REFILL NORMAL 8CT</c:v>
                </c:pt>
                <c:pt idx="9">
                  <c:v>HARRY'S 5 BLADE REFILL NORMAL 12CT</c:v>
                </c:pt>
                <c:pt idx="10">
                  <c:v>HARRY'S ORANGE 5 BLADE RAZOR NORMAL 5CT</c:v>
                </c:pt>
                <c:pt idx="11">
                  <c:v>HARRY'S SURF BLUE 5 BLADE RAZOR NORMAL 2CT</c:v>
                </c:pt>
              </c:strCache>
            </c:strRef>
          </c:cat>
          <c:val>
            <c:numRef>
              <c:f>Sheet1!$B$2:$B$13</c:f>
              <c:numCache>
                <c:formatCode>General</c:formatCode>
                <c:ptCount val="12"/>
                <c:pt idx="0">
                  <c:v>16.85</c:v>
                </c:pt>
                <c:pt idx="1">
                  <c:v>14.99</c:v>
                </c:pt>
                <c:pt idx="2">
                  <c:v>18.42</c:v>
                </c:pt>
                <c:pt idx="3">
                  <c:v>12.46</c:v>
                </c:pt>
                <c:pt idx="4">
                  <c:v>40.1</c:v>
                </c:pt>
                <c:pt idx="5">
                  <c:v>29.97</c:v>
                </c:pt>
                <c:pt idx="6">
                  <c:v>23.89</c:v>
                </c:pt>
                <c:pt idx="7">
                  <c:v>9.97</c:v>
                </c:pt>
                <c:pt idx="8">
                  <c:v>16.96</c:v>
                </c:pt>
                <c:pt idx="9">
                  <c:v>23.97</c:v>
                </c:pt>
                <c:pt idx="10">
                  <c:v>16.01</c:v>
                </c:pt>
                <c:pt idx="11">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7.29</a:t>
                    </a:r>
                  </a:p>
                </c:rich>
              </c:tx>
              <c:showLegendKey val="0"/>
              <c:showVal val="1"/>
              <c:showCatName val="0"/>
              <c:showSerName val="0"/>
              <c:showPercent val="0"/>
              <c:showBubbleSize val="0"/>
            </c:dLbl>
            <c:dLbl>
              <c:idx val="2"/>
              <c:tx>
                <c:rich>
                  <a:bodyPr/>
                  <a:lstStyle/>
                  <a:p>
                    <a:r>
                      <a:t>7.27</a:t>
                    </a:r>
                  </a:p>
                </c:rich>
              </c:tx>
              <c:showLegendKey val="0"/>
              <c:showVal val="1"/>
              <c:showCatName val="0"/>
              <c:showSerName val="0"/>
              <c:showPercent val="0"/>
              <c:showBubbleSize val="0"/>
            </c:dLbl>
            <c:dLbl>
              <c:idx val="3"/>
              <c:tx>
                <c:rich>
                  <a:bodyPr/>
                  <a:lstStyle/>
                  <a:p>
                    <a:r>
                      <a:t>11.92</a:t>
                    </a:r>
                  </a:p>
                </c:rich>
              </c:tx>
              <c:showLegendKey val="0"/>
              <c:showVal val="1"/>
              <c:showCatName val="0"/>
              <c:showSerName val="0"/>
              <c:showPercent val="0"/>
              <c:showBubbleSize val="0"/>
            </c:dLbl>
            <c:dLbl>
              <c:idx val="4"/>
              <c:tx>
                <c:rich>
                  <a:bodyPr/>
                  <a:lstStyle/>
                  <a:p>
                    <a:r>
                      <a:t>9.2</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3</a:t>
                    </a:r>
                  </a:p>
                </c:rich>
              </c:tx>
              <c:showLegendKey val="0"/>
              <c:showVal val="1"/>
              <c:showCatName val="0"/>
              <c:showSerName val="0"/>
              <c:showPercent val="0"/>
              <c:showBubbleSize val="0"/>
            </c:dLbl>
            <c:dLbl>
              <c:idx val="12"/>
              <c:tx>
                <c:rich>
                  <a:bodyPr/>
                  <a:lstStyle/>
                  <a:p>
                    <a:r>
                      <a:t>11.13</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dLbl>
              <c:idx val="15"/>
              <c:tx>
                <c:rich>
                  <a:bodyPr/>
                  <a:lstStyle/>
                  <a:p>
                    <a:r>
                      <a:t>5.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pt idx="15">
                  <c:v>GILLETTE LIL NECESSITIES HOLIDAY GIFT PACK REM BLADES DISPOSABLE 1CT</c:v>
                </c:pt>
              </c:strCache>
            </c:strRef>
          </c:cat>
          <c:val>
            <c:numRef>
              <c:f>Sheet1!$B$2:$B$17</c:f>
              <c:numCache>
                <c:formatCode>General</c:formatCode>
                <c:ptCount val="16"/>
                <c:pt idx="0">
                  <c:v>20.09</c:v>
                </c:pt>
                <c:pt idx="1">
                  <c:v>7.29</c:v>
                </c:pt>
                <c:pt idx="2">
                  <c:v>7.27</c:v>
                </c:pt>
                <c:pt idx="3">
                  <c:v>11.92</c:v>
                </c:pt>
                <c:pt idx="4">
                  <c:v>9.2</c:v>
                </c:pt>
                <c:pt idx="5">
                  <c:v>6.93</c:v>
                </c:pt>
                <c:pt idx="6">
                  <c:v>7.15</c:v>
                </c:pt>
                <c:pt idx="7">
                  <c:v>3.77</c:v>
                </c:pt>
                <c:pt idx="8">
                  <c:v>5.26</c:v>
                </c:pt>
                <c:pt idx="9">
                  <c:v>5.15</c:v>
                </c:pt>
                <c:pt idx="10">
                  <c:v>7.9</c:v>
                </c:pt>
                <c:pt idx="11">
                  <c:v>11.13</c:v>
                </c:pt>
                <c:pt idx="12">
                  <c:v>11.13</c:v>
                </c:pt>
                <c:pt idx="13">
                  <c:v>7.46</c:v>
                </c:pt>
                <c:pt idx="14">
                  <c:v>33.52</c:v>
                </c:pt>
                <c:pt idx="15">
                  <c:v>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2.18</a:t>
                    </a:r>
                  </a:p>
                </c:rich>
              </c:tx>
              <c:showLegendKey val="0"/>
              <c:showVal val="1"/>
              <c:showCatName val="0"/>
              <c:showSerName val="0"/>
              <c:showPercent val="0"/>
              <c:showBubbleSize val="0"/>
            </c:dLbl>
            <c:dLbl>
              <c:idx val="2"/>
              <c:tx>
                <c:rich>
                  <a:bodyPr/>
                  <a:lstStyle/>
                  <a:p>
                    <a:r>
                      <a:t>5.98</a:t>
                    </a:r>
                  </a:p>
                </c:rich>
              </c:tx>
              <c:showLegendKey val="0"/>
              <c:showVal val="1"/>
              <c:showCatName val="0"/>
              <c:showSerName val="0"/>
              <c:showPercent val="0"/>
              <c:showBubbleSize val="0"/>
            </c:dLbl>
            <c:dLbl>
              <c:idx val="3"/>
              <c:tx>
                <c:rich>
                  <a:bodyPr/>
                  <a:lstStyle/>
                  <a:p>
                    <a:r>
                      <a:t>3.97</a:t>
                    </a:r>
                  </a:p>
                </c:rich>
              </c:tx>
              <c:showLegendKey val="0"/>
              <c:showVal val="1"/>
              <c:showCatName val="0"/>
              <c:showSerName val="0"/>
              <c:showPercent val="0"/>
              <c:showBubbleSize val="0"/>
            </c:dLbl>
            <c:dLbl>
              <c:idx val="4"/>
              <c:tx>
                <c:rich>
                  <a:bodyPr/>
                  <a:lstStyle/>
                  <a:p>
                    <a:r>
                      <a:t>4.16</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3</a:t>
                    </a:r>
                  </a:p>
                </c:rich>
              </c:tx>
              <c:showLegendKey val="0"/>
              <c:showVal val="1"/>
              <c:showCatName val="0"/>
              <c:showSerName val="0"/>
              <c:showPercent val="0"/>
              <c:showBubbleSize val="0"/>
            </c:dLbl>
            <c:dLbl>
              <c:idx val="12"/>
              <c:tx>
                <c:rich>
                  <a:bodyPr/>
                  <a:lstStyle/>
                  <a:p>
                    <a:r>
                      <a:t>11.13</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dLbl>
              <c:idx val="15"/>
              <c:tx>
                <c:rich>
                  <a:bodyPr/>
                  <a:lstStyle/>
                  <a:p>
                    <a:r>
                      <a:t>5.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pt idx="15">
                  <c:v>GILLETTE LIL NECESSITIES HOLIDAY GIFT PACK REM BLADES DISPOSABLE 1CT</c:v>
                </c:pt>
              </c:strCache>
            </c:strRef>
          </c:cat>
          <c:val>
            <c:numRef>
              <c:f>Sheet1!$B$2:$B$17</c:f>
              <c:numCache>
                <c:formatCode>General</c:formatCode>
                <c:ptCount val="16"/>
                <c:pt idx="0">
                  <c:v>5.49</c:v>
                </c:pt>
                <c:pt idx="1">
                  <c:v>2.18</c:v>
                </c:pt>
                <c:pt idx="2">
                  <c:v>5.98</c:v>
                </c:pt>
                <c:pt idx="3">
                  <c:v>3.97</c:v>
                </c:pt>
                <c:pt idx="4">
                  <c:v>4.16</c:v>
                </c:pt>
                <c:pt idx="5">
                  <c:v>6.93</c:v>
                </c:pt>
                <c:pt idx="6">
                  <c:v>7.15</c:v>
                </c:pt>
                <c:pt idx="7">
                  <c:v>3.77</c:v>
                </c:pt>
                <c:pt idx="8">
                  <c:v>5.26</c:v>
                </c:pt>
                <c:pt idx="9">
                  <c:v>5.15</c:v>
                </c:pt>
                <c:pt idx="10">
                  <c:v>7.9</c:v>
                </c:pt>
                <c:pt idx="11">
                  <c:v>11.13</c:v>
                </c:pt>
                <c:pt idx="12">
                  <c:v>11.13</c:v>
                </c:pt>
                <c:pt idx="13">
                  <c:v>7.46</c:v>
                </c:pt>
                <c:pt idx="14">
                  <c:v>33.52</c:v>
                </c:pt>
                <c:pt idx="15">
                  <c:v>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4.71</a:t>
                    </a:r>
                  </a:p>
                </c:rich>
              </c:tx>
              <c:showLegendKey val="0"/>
              <c:showVal val="1"/>
              <c:showCatName val="0"/>
              <c:showSerName val="0"/>
              <c:showPercent val="0"/>
              <c:showBubbleSize val="0"/>
            </c:dLbl>
            <c:dLbl>
              <c:idx val="2"/>
              <c:tx>
                <c:rich>
                  <a:bodyPr/>
                  <a:lstStyle/>
                  <a:p>
                    <a:r>
                      <a:t>33.57</a:t>
                    </a:r>
                  </a:p>
                </c:rich>
              </c:tx>
              <c:showLegendKey val="0"/>
              <c:showVal val="1"/>
              <c:showCatName val="0"/>
              <c:showSerName val="0"/>
              <c:showPercent val="0"/>
              <c:showBubbleSize val="0"/>
            </c:dLbl>
            <c:dLbl>
              <c:idx val="3"/>
              <c:tx>
                <c:rich>
                  <a:bodyPr/>
                  <a:lstStyle/>
                  <a:p>
                    <a:r>
                      <a:t>23.98</a:t>
                    </a:r>
                  </a:p>
                </c:rich>
              </c:tx>
              <c:showLegendKey val="0"/>
              <c:showVal val="1"/>
              <c:showCatName val="0"/>
              <c:showSerName val="0"/>
              <c:showPercent val="0"/>
              <c:showBubbleSize val="0"/>
            </c:dLbl>
            <c:dLbl>
              <c:idx val="4"/>
              <c:tx>
                <c:rich>
                  <a:bodyPr/>
                  <a:lstStyle/>
                  <a:p>
                    <a:r>
                      <a:t>19.4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BLACK GREEN 3 BLADE DISPOSABLE SENSITIVE 20CT</c:v>
                </c:pt>
                <c:pt idx="1">
                  <c:v>SCHICK XTREME 3 SENSITIVE BLACK 3 BLADE DISPOSABLE SENSITIVE 20CT</c:v>
                </c:pt>
                <c:pt idx="2">
                  <c:v>GILLETTE SENSOR 2 PLUS PIVOT 2 BLADE DISPOSABLE NORMAL 52CT</c:v>
                </c:pt>
                <c:pt idx="3">
                  <c:v>GILLETTE SENSOR 3 SENSITIVE BLUE GREEN 3 BLADE DISPOSABLE SENSITIVE 24CT</c:v>
                </c:pt>
                <c:pt idx="4">
                  <c:v>BIC FLEX 5 BLACK WHITE 5 BLADE DISPOSABLE NORMAL 9CT</c:v>
                </c:pt>
              </c:strCache>
            </c:strRef>
          </c:cat>
          <c:val>
            <c:numRef>
              <c:f>Sheet1!$B$2:$B$6</c:f>
              <c:numCache>
                <c:formatCode>General</c:formatCode>
                <c:ptCount val="5"/>
                <c:pt idx="0">
                  <c:v>20.1</c:v>
                </c:pt>
                <c:pt idx="1">
                  <c:v>24.71</c:v>
                </c:pt>
                <c:pt idx="2">
                  <c:v>33.57</c:v>
                </c:pt>
                <c:pt idx="3">
                  <c:v>23.98</c:v>
                </c:pt>
                <c:pt idx="4">
                  <c:v>19.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showLegendKey val="0"/>
              <c:showVal val="1"/>
              <c:showCatName val="0"/>
              <c:showSerName val="0"/>
              <c:showPercent val="0"/>
              <c:showBubbleSize val="0"/>
            </c:dLbl>
            <c:dLbl>
              <c:idx val="1"/>
              <c:tx>
                <c:rich>
                  <a:bodyPr/>
                  <a:lstStyle/>
                  <a:p>
                    <a:r>
                      <a:t>11.02</a:t>
                    </a:r>
                  </a:p>
                </c:rich>
              </c:tx>
              <c:showLegendKey val="0"/>
              <c:showVal val="1"/>
              <c:showCatName val="0"/>
              <c:showSerName val="0"/>
              <c:showPercent val="0"/>
              <c:showBubbleSize val="0"/>
            </c:dLbl>
            <c:dLbl>
              <c:idx val="2"/>
              <c:tx>
                <c:rich>
                  <a:bodyPr/>
                  <a:lstStyle/>
                  <a:p>
                    <a:r>
                      <a:t>11.02</a:t>
                    </a:r>
                  </a:p>
                </c:rich>
              </c:tx>
              <c:showLegendKey val="0"/>
              <c:showVal val="1"/>
              <c:showCatName val="0"/>
              <c:showSerName val="0"/>
              <c:showPercent val="0"/>
              <c:showBubbleSize val="0"/>
            </c:dLbl>
            <c:dLbl>
              <c:idx val="3"/>
              <c:tx>
                <c:rich>
                  <a:bodyPr/>
                  <a:lstStyle/>
                  <a:p>
                    <a:r>
                      <a:t>6.53</a:t>
                    </a:r>
                  </a:p>
                </c:rich>
              </c:tx>
              <c:showLegendKey val="0"/>
              <c:showVal val="1"/>
              <c:showCatName val="0"/>
              <c:showSerName val="0"/>
              <c:showPercent val="0"/>
              <c:showBubbleSize val="0"/>
            </c:dLbl>
            <c:dLbl>
              <c:idx val="4"/>
              <c:tx>
                <c:rich>
                  <a:bodyPr/>
                  <a:lstStyle/>
                  <a:p>
                    <a:r>
                      <a:t>15.1</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9.98</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9.98</a:t>
                    </a:r>
                  </a:p>
                </c:rich>
              </c:tx>
              <c:showLegendKey val="0"/>
              <c:showVal val="1"/>
              <c:showCatName val="0"/>
              <c:showSerName val="0"/>
              <c:showPercent val="0"/>
              <c:showBubbleSize val="0"/>
            </c:dLbl>
            <c:dLbl>
              <c:idx val="13"/>
              <c:tx>
                <c:rich>
                  <a:bodyPr/>
                  <a:lstStyle/>
                  <a:p>
                    <a:r>
                      <a:t>15.0</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GILLETTE SENSOR 2 FIXED 2 BLADE DISPOSABLE NORMAL 12CT</c:v>
                </c:pt>
                <c:pt idx="11">
                  <c:v>GILLETTE MACH 3 MULTI COLOR 3 BLADE DISPOSABLE SENSITIVE 3CT</c:v>
                </c:pt>
                <c:pt idx="12">
                  <c:v>GILLETTE SENSOR 2 PLUS PIVOT 2 BLADE DISPOSABLE NORMAL 10CT</c:v>
                </c:pt>
                <c:pt idx="13">
                  <c:v>GILLETTE SENSOR 2 FIXED 2 BLADE DISPOSABLE NORMAL 18CT</c:v>
                </c:pt>
                <c:pt idx="14">
                  <c:v>GILLETTE SENSOR 3 SENSITIVE GREEN 3 BLADE DISPOSABLE SENSITIVE 4CT</c:v>
                </c:pt>
              </c:strCache>
            </c:strRef>
          </c:cat>
          <c:val>
            <c:numRef>
              <c:f>Sheet1!$B$2:$B$16</c:f>
              <c:numCache>
                <c:formatCode>General</c:formatCode>
                <c:ptCount val="15"/>
                <c:pt idx="0">
                  <c:v>6.5</c:v>
                </c:pt>
                <c:pt idx="1">
                  <c:v>11.02</c:v>
                </c:pt>
                <c:pt idx="2">
                  <c:v>11.02</c:v>
                </c:pt>
                <c:pt idx="3">
                  <c:v>6.53</c:v>
                </c:pt>
                <c:pt idx="4">
                  <c:v>15.1</c:v>
                </c:pt>
                <c:pt idx="5">
                  <c:v>3.43</c:v>
                </c:pt>
                <c:pt idx="6">
                  <c:v>6.94</c:v>
                </c:pt>
                <c:pt idx="7">
                  <c:v>10.92</c:v>
                </c:pt>
                <c:pt idx="8">
                  <c:v>3.98</c:v>
                </c:pt>
                <c:pt idx="9">
                  <c:v>6.45</c:v>
                </c:pt>
                <c:pt idx="10">
                  <c:v>9.98</c:v>
                </c:pt>
                <c:pt idx="11">
                  <c:v>6.97</c:v>
                </c:pt>
                <c:pt idx="12">
                  <c:v>9.98</c:v>
                </c:pt>
                <c:pt idx="13">
                  <c:v>15.0</c:v>
                </c:pt>
                <c:pt idx="14">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a:t>
                    </a:r>
                  </a:p>
                </c:rich>
              </c:tx>
              <c:dLblPos val="t"/>
              <c:showLegendKey val="0"/>
              <c:showVal val="1"/>
              <c:showCatName val="0"/>
              <c:showSerName val="0"/>
              <c:showPercent val="0"/>
              <c:showBubbleSize val="0"/>
            </c:dLbl>
            <c:dLbl>
              <c:idx val="1"/>
              <c:tx>
                <c:rich>
                  <a:bodyPr/>
                  <a:lstStyle/>
                  <a:p>
                    <a:r>
                      <a:t>15.89</a:t>
                    </a:r>
                  </a:p>
                </c:rich>
              </c:tx>
              <c:dLblPos val="t"/>
              <c:showLegendKey val="0"/>
              <c:showVal val="1"/>
              <c:showCatName val="0"/>
              <c:showSerName val="0"/>
              <c:showPercent val="0"/>
              <c:showBubbleSize val="0"/>
            </c:dLbl>
            <c:dLbl>
              <c:idx val="2"/>
              <c:tx>
                <c:rich>
                  <a:bodyPr/>
                  <a:lstStyle/>
                  <a:p>
                    <a:r>
                      <a:t>10.95</a:t>
                    </a:r>
                  </a:p>
                </c:rich>
              </c:tx>
              <c:dLblPos val="t"/>
              <c:showLegendKey val="0"/>
              <c:showVal val="1"/>
              <c:showCatName val="0"/>
              <c:showSerName val="0"/>
              <c:showPercent val="0"/>
              <c:showBubbleSize val="0"/>
            </c:dLbl>
            <c:dLbl>
              <c:idx val="3"/>
              <c:tx>
                <c:rich>
                  <a:bodyPr/>
                  <a:lstStyle/>
                  <a:p>
                    <a:r>
                      <a:t>16.67</a:t>
                    </a:r>
                  </a:p>
                </c:rich>
              </c:tx>
              <c:dLblPos val="t"/>
              <c:showLegendKey val="0"/>
              <c:showVal val="1"/>
              <c:showCatName val="0"/>
              <c:showSerName val="0"/>
              <c:showPercent val="0"/>
              <c:showBubbleSize val="0"/>
            </c:dLbl>
            <c:dLbl>
              <c:idx val="4"/>
              <c:tx>
                <c:rich>
                  <a:bodyPr/>
                  <a:lstStyle/>
                  <a:p>
                    <a:r>
                      <a:t>24.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REMO 5 BLADE REFILL NORMAL 4CT</c:v>
                </c:pt>
                <c:pt idx="1">
                  <c:v>CREMO 5 BLADE RAZOR NORMAL 2CT</c:v>
                </c:pt>
                <c:pt idx="2">
                  <c:v>CREMO SILVER HOLIDAY GIFT PACK 5 BLADE RAZOR 5CT</c:v>
                </c:pt>
                <c:pt idx="3">
                  <c:v>CREMO SILVER HOLIDAY GIFT PACK REM BLADES RAZOR 5CT</c:v>
                </c:pt>
                <c:pt idx="4">
                  <c:v>CREMO HERITAGE BLACK HOLIDAY GIFT PACK REM BLADES RAZOR 5CT</c:v>
                </c:pt>
              </c:strCache>
            </c:strRef>
          </c:cat>
          <c:val>
            <c:numRef>
              <c:f>Sheet1!$B$2:$B$6</c:f>
              <c:numCache>
                <c:formatCode>General</c:formatCode>
                <c:ptCount val="5"/>
                <c:pt idx="0">
                  <c:v>13.8</c:v>
                </c:pt>
                <c:pt idx="1">
                  <c:v>15.89</c:v>
                </c:pt>
                <c:pt idx="2">
                  <c:v>10.95</c:v>
                </c:pt>
                <c:pt idx="3">
                  <c:v>16.67</c:v>
                </c:pt>
                <c:pt idx="4">
                  <c:v>24.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2.18</a:t>
                    </a:r>
                  </a:p>
                </c:rich>
              </c:tx>
              <c:showLegendKey val="0"/>
              <c:showVal val="1"/>
              <c:showCatName val="0"/>
              <c:showSerName val="0"/>
              <c:showPercent val="0"/>
              <c:showBubbleSize val="0"/>
            </c:dLbl>
            <c:dLbl>
              <c:idx val="2"/>
              <c:tx>
                <c:rich>
                  <a:bodyPr/>
                  <a:lstStyle/>
                  <a:p>
                    <a:r>
                      <a:t>5.98</a:t>
                    </a:r>
                  </a:p>
                </c:rich>
              </c:tx>
              <c:showLegendKey val="0"/>
              <c:showVal val="1"/>
              <c:showCatName val="0"/>
              <c:showSerName val="0"/>
              <c:showPercent val="0"/>
              <c:showBubbleSize val="0"/>
            </c:dLbl>
            <c:dLbl>
              <c:idx val="3"/>
              <c:tx>
                <c:rich>
                  <a:bodyPr/>
                  <a:lstStyle/>
                  <a:p>
                    <a:r>
                      <a:t>3.97</a:t>
                    </a:r>
                  </a:p>
                </c:rich>
              </c:tx>
              <c:showLegendKey val="0"/>
              <c:showVal val="1"/>
              <c:showCatName val="0"/>
              <c:showSerName val="0"/>
              <c:showPercent val="0"/>
              <c:showBubbleSize val="0"/>
            </c:dLbl>
            <c:dLbl>
              <c:idx val="4"/>
              <c:tx>
                <c:rich>
                  <a:bodyPr/>
                  <a:lstStyle/>
                  <a:p>
                    <a:r>
                      <a:t>4.15</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9.98</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9.98</a:t>
                    </a:r>
                  </a:p>
                </c:rich>
              </c:tx>
              <c:showLegendKey val="0"/>
              <c:showVal val="1"/>
              <c:showCatName val="0"/>
              <c:showSerName val="0"/>
              <c:showPercent val="0"/>
              <c:showBubbleSize val="0"/>
            </c:dLbl>
            <c:dLbl>
              <c:idx val="13"/>
              <c:tx>
                <c:rich>
                  <a:bodyPr/>
                  <a:lstStyle/>
                  <a:p>
                    <a:r>
                      <a:t>15.0</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GILLETTE SENSOR 2 FIXED 2 BLADE DISPOSABLE NORMAL 12CT</c:v>
                </c:pt>
                <c:pt idx="11">
                  <c:v>GILLETTE MACH 3 MULTI COLOR 3 BLADE DISPOSABLE SENSITIVE 3CT</c:v>
                </c:pt>
                <c:pt idx="12">
                  <c:v>GILLETTE SENSOR 2 PLUS PIVOT 2 BLADE DISPOSABLE NORMAL 10CT</c:v>
                </c:pt>
                <c:pt idx="13">
                  <c:v>GILLETTE SENSOR 2 FIXED 2 BLADE DISPOSABLE NORMAL 18CT</c:v>
                </c:pt>
                <c:pt idx="14">
                  <c:v>GILLETTE SENSOR 3 SENSITIVE GREEN 3 BLADE DISPOSABLE SENSITIVE 4CT</c:v>
                </c:pt>
              </c:strCache>
            </c:strRef>
          </c:cat>
          <c:val>
            <c:numRef>
              <c:f>Sheet1!$B$2:$B$16</c:f>
              <c:numCache>
                <c:formatCode>General</c:formatCode>
                <c:ptCount val="15"/>
                <c:pt idx="0">
                  <c:v>5.49</c:v>
                </c:pt>
                <c:pt idx="1">
                  <c:v>2.18</c:v>
                </c:pt>
                <c:pt idx="2">
                  <c:v>5.98</c:v>
                </c:pt>
                <c:pt idx="3">
                  <c:v>3.97</c:v>
                </c:pt>
                <c:pt idx="4">
                  <c:v>4.15</c:v>
                </c:pt>
                <c:pt idx="5">
                  <c:v>3.43</c:v>
                </c:pt>
                <c:pt idx="6">
                  <c:v>6.94</c:v>
                </c:pt>
                <c:pt idx="7">
                  <c:v>10.92</c:v>
                </c:pt>
                <c:pt idx="8">
                  <c:v>3.98</c:v>
                </c:pt>
                <c:pt idx="9">
                  <c:v>6.45</c:v>
                </c:pt>
                <c:pt idx="10">
                  <c:v>9.98</c:v>
                </c:pt>
                <c:pt idx="11">
                  <c:v>6.97</c:v>
                </c:pt>
                <c:pt idx="12">
                  <c:v>9.98</c:v>
                </c:pt>
                <c:pt idx="13">
                  <c:v>15.0</c:v>
                </c:pt>
                <c:pt idx="14">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9</a:t>
                    </a:r>
                  </a:p>
                </c:rich>
              </c:tx>
              <c:showLegendKey val="0"/>
              <c:showVal val="1"/>
              <c:showCatName val="0"/>
              <c:showSerName val="0"/>
              <c:showPercent val="0"/>
              <c:showBubbleSize val="0"/>
            </c:dLbl>
            <c:dLbl>
              <c:idx val="1"/>
              <c:tx>
                <c:rich>
                  <a:bodyPr/>
                  <a:lstStyle/>
                  <a:p>
                    <a:r>
                      <a:t>11.67</a:t>
                    </a:r>
                  </a:p>
                </c:rich>
              </c:tx>
              <c:showLegendKey val="0"/>
              <c:showVal val="1"/>
              <c:showCatName val="0"/>
              <c:showSerName val="0"/>
              <c:showPercent val="0"/>
              <c:showBubbleSize val="0"/>
            </c:dLbl>
            <c:dLbl>
              <c:idx val="2"/>
              <c:tx>
                <c:rich>
                  <a:bodyPr/>
                  <a:lstStyle/>
                  <a:p>
                    <a:r>
                      <a:t>38.77</a:t>
                    </a:r>
                  </a:p>
                </c:rich>
              </c:tx>
              <c:showLegendKey val="0"/>
              <c:showVal val="1"/>
              <c:showCatName val="0"/>
              <c:showSerName val="0"/>
              <c:showPercent val="0"/>
              <c:showBubbleSize val="0"/>
            </c:dLbl>
            <c:dLbl>
              <c:idx val="3"/>
              <c:tx>
                <c:rich>
                  <a:bodyPr/>
                  <a:lstStyle/>
                  <a:p>
                    <a:r>
                      <a:t>12.0</a:t>
                    </a:r>
                  </a:p>
                </c:rich>
              </c:tx>
              <c:showLegendKey val="0"/>
              <c:showVal val="1"/>
              <c:showCatName val="0"/>
              <c:showSerName val="0"/>
              <c:showPercent val="0"/>
              <c:showBubbleSize val="0"/>
            </c:dLbl>
            <c:dLbl>
              <c:idx val="4"/>
              <c:tx>
                <c:rich>
                  <a:bodyPr/>
                  <a:lstStyle/>
                  <a:p>
                    <a:r>
                      <a:t>12.71</a:t>
                    </a:r>
                  </a:p>
                </c:rich>
              </c:tx>
              <c:showLegendKey val="0"/>
              <c:showVal val="1"/>
              <c:showCatName val="0"/>
              <c:showSerName val="0"/>
              <c:showPercent val="0"/>
              <c:showBubbleSize val="0"/>
            </c:dLbl>
            <c:dLbl>
              <c:idx val="5"/>
              <c:tx>
                <c:rich>
                  <a:bodyPr/>
                  <a:lstStyle/>
                  <a:p>
                    <a:r>
                      <a:t>13.7</a:t>
                    </a:r>
                  </a:p>
                </c:rich>
              </c:tx>
              <c:showLegendKey val="0"/>
              <c:showVal val="1"/>
              <c:showCatName val="0"/>
              <c:showSerName val="0"/>
              <c:showPercent val="0"/>
              <c:showBubbleSize val="0"/>
            </c:dLbl>
            <c:dLbl>
              <c:idx val="6"/>
              <c:tx>
                <c:rich>
                  <a:bodyPr/>
                  <a:lstStyle/>
                  <a:p>
                    <a:r>
                      <a:t>24.45</a:t>
                    </a:r>
                  </a:p>
                </c:rich>
              </c:tx>
              <c:showLegendKey val="0"/>
              <c:showVal val="1"/>
              <c:showCatName val="0"/>
              <c:showSerName val="0"/>
              <c:showPercent val="0"/>
              <c:showBubbleSize val="0"/>
            </c:dLbl>
            <c:dLbl>
              <c:idx val="7"/>
              <c:tx>
                <c:rich>
                  <a:bodyPr/>
                  <a:lstStyle/>
                  <a:p>
                    <a:r>
                      <a:t>21.35</a:t>
                    </a:r>
                  </a:p>
                </c:rich>
              </c:tx>
              <c:showLegendKey val="0"/>
              <c:showVal val="1"/>
              <c:showCatName val="0"/>
              <c:showSerName val="0"/>
              <c:showPercent val="0"/>
              <c:showBubbleSize val="0"/>
            </c:dLbl>
            <c:dLbl>
              <c:idx val="8"/>
              <c:tx>
                <c:rich>
                  <a:bodyPr/>
                  <a:lstStyle/>
                  <a:p>
                    <a:r>
                      <a:t>10.38</a:t>
                    </a:r>
                  </a:p>
                </c:rich>
              </c:tx>
              <c:showLegendKey val="0"/>
              <c:showVal val="1"/>
              <c:showCatName val="0"/>
              <c:showSerName val="0"/>
              <c:showPercent val="0"/>
              <c:showBubbleSize val="0"/>
            </c:dLbl>
            <c:dLbl>
              <c:idx val="9"/>
              <c:tx>
                <c:rich>
                  <a:bodyPr/>
                  <a:lstStyle/>
                  <a:p>
                    <a:r>
                      <a:t>12.37</a:t>
                    </a:r>
                  </a:p>
                </c:rich>
              </c:tx>
              <c:showLegendKey val="0"/>
              <c:showVal val="1"/>
              <c:showCatName val="0"/>
              <c:showSerName val="0"/>
              <c:showPercent val="0"/>
              <c:showBubbleSize val="0"/>
            </c:dLbl>
            <c:dLbl>
              <c:idx val="10"/>
              <c:tx>
                <c:rich>
                  <a:bodyPr/>
                  <a:lstStyle/>
                  <a:p>
                    <a:r>
                      <a:t>16.3</a:t>
                    </a:r>
                  </a:p>
                </c:rich>
              </c:tx>
              <c:showLegendKey val="0"/>
              <c:showVal val="1"/>
              <c:showCatName val="0"/>
              <c:showSerName val="0"/>
              <c:showPercent val="0"/>
              <c:showBubbleSize val="0"/>
            </c:dLbl>
            <c:dLbl>
              <c:idx val="11"/>
              <c:tx>
                <c:rich>
                  <a:bodyPr/>
                  <a:lstStyle/>
                  <a:p>
                    <a:r>
                      <a:t>18.77</a:t>
                    </a:r>
                  </a:p>
                </c:rich>
              </c:tx>
              <c:showLegendKey val="0"/>
              <c:showVal val="1"/>
              <c:showCatName val="0"/>
              <c:showSerName val="0"/>
              <c:showPercent val="0"/>
              <c:showBubbleSize val="0"/>
            </c:dLbl>
            <c:dLbl>
              <c:idx val="12"/>
              <c:tx>
                <c:rich>
                  <a:bodyPr/>
                  <a:lstStyle/>
                  <a:p>
                    <a:r>
                      <a:t>10.63</a:t>
                    </a:r>
                  </a:p>
                </c:rich>
              </c:tx>
              <c:showLegendKey val="0"/>
              <c:showVal val="1"/>
              <c:showCatName val="0"/>
              <c:showSerName val="0"/>
              <c:showPercent val="0"/>
              <c:showBubbleSize val="0"/>
            </c:dLbl>
            <c:dLbl>
              <c:idx val="13"/>
              <c:tx>
                <c:rich>
                  <a:bodyPr/>
                  <a:lstStyle/>
                  <a:p>
                    <a:r>
                      <a:t>12.12</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AZOR SENSITIVE 3CT</c:v>
                </c:pt>
                <c:pt idx="1">
                  <c:v>HYDRO 5 DRY SKIN 5 BLADE RAZOR DRY 3CT</c:v>
                </c:pt>
                <c:pt idx="2">
                  <c:v>HYDRO 5 SENSITIVE 5 BLADE RAZOR SENSITIVE 17CT</c:v>
                </c:pt>
                <c:pt idx="3">
                  <c:v>SCHICK QUATTRO FOR MEN 4 BLADE RAZOR NORMAL 4CT</c:v>
                </c:pt>
                <c:pt idx="4">
                  <c:v>SCHICK HYDRO 3 SENSITIVE 3 BLADE RAZOR SENSITIVE 4CT</c:v>
                </c:pt>
                <c:pt idx="5">
                  <c:v>GILLETTE FUSION 5 5 BLADE RAZOR NORMAL 2CT</c:v>
                </c:pt>
                <c:pt idx="6">
                  <c:v>GILLETTE FUSION 5 5 BLADE RAZOR NORMAL 5CT</c:v>
                </c:pt>
                <c:pt idx="7">
                  <c:v>GILLETTE MACH 3 3 BLADE RAZOR NORMAL 6CT</c:v>
                </c:pt>
                <c:pt idx="8">
                  <c:v>GILLETTE MACH 3 3 BLADE RAZOR NORMAL 2CT</c:v>
                </c:pt>
                <c:pt idx="9">
                  <c:v>GILLETTE FUSION 5 5 BLADE RAZOR NORMAL 1CT</c:v>
                </c:pt>
                <c:pt idx="10">
                  <c:v>HARRY'S ORANGE 5 BLADE RAZOR NORMAL 5CT</c:v>
                </c:pt>
                <c:pt idx="11">
                  <c:v>HARRY'S SILVER 5 BLADE RAZOR NORMAL 5CT</c:v>
                </c:pt>
                <c:pt idx="12">
                  <c:v>HARRY'S NAVY BLUE 5 BLADE RAZOR NORMAL 2CT</c:v>
                </c:pt>
                <c:pt idx="13">
                  <c:v>HARRY'S SILVER 5 BLADE RAZOR NORMAL 2CT</c:v>
                </c:pt>
                <c:pt idx="14">
                  <c:v>HARRY'S SURF BLUE 5 BLADE RAZOR NORMAL 2CT</c:v>
                </c:pt>
              </c:strCache>
            </c:strRef>
          </c:cat>
          <c:val>
            <c:numRef>
              <c:f>Sheet1!$B$2:$B$16</c:f>
              <c:numCache>
                <c:formatCode>General</c:formatCode>
                <c:ptCount val="15"/>
                <c:pt idx="0">
                  <c:v>10.59</c:v>
                </c:pt>
                <c:pt idx="1">
                  <c:v>11.67</c:v>
                </c:pt>
                <c:pt idx="2">
                  <c:v>38.77</c:v>
                </c:pt>
                <c:pt idx="3">
                  <c:v>12.0</c:v>
                </c:pt>
                <c:pt idx="4">
                  <c:v>12.71</c:v>
                </c:pt>
                <c:pt idx="5">
                  <c:v>13.7</c:v>
                </c:pt>
                <c:pt idx="6">
                  <c:v>24.45</c:v>
                </c:pt>
                <c:pt idx="7">
                  <c:v>21.35</c:v>
                </c:pt>
                <c:pt idx="8">
                  <c:v>10.38</c:v>
                </c:pt>
                <c:pt idx="9">
                  <c:v>12.37</c:v>
                </c:pt>
                <c:pt idx="10">
                  <c:v>16.3</c:v>
                </c:pt>
                <c:pt idx="11">
                  <c:v>18.77</c:v>
                </c:pt>
                <c:pt idx="12">
                  <c:v>10.63</c:v>
                </c:pt>
                <c:pt idx="13">
                  <c:v>12.12</c:v>
                </c:pt>
                <c:pt idx="14">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6</a:t>
                    </a:r>
                  </a:p>
                </c:rich>
              </c:tx>
              <c:showLegendKey val="0"/>
              <c:showVal val="1"/>
              <c:showCatName val="0"/>
              <c:showSerName val="0"/>
              <c:showPercent val="0"/>
              <c:showBubbleSize val="0"/>
            </c:dLbl>
            <c:dLbl>
              <c:idx val="1"/>
              <c:tx>
                <c:rich>
                  <a:bodyPr/>
                  <a:lstStyle/>
                  <a:p>
                    <a:r>
                      <a:t>13.7</a:t>
                    </a:r>
                  </a:p>
                </c:rich>
              </c:tx>
              <c:showLegendKey val="0"/>
              <c:showVal val="1"/>
              <c:showCatName val="0"/>
              <c:showSerName val="0"/>
              <c:showPercent val="0"/>
              <c:showBubbleSize val="0"/>
            </c:dLbl>
            <c:dLbl>
              <c:idx val="2"/>
              <c:tx>
                <c:rich>
                  <a:bodyPr/>
                  <a:lstStyle/>
                  <a:p>
                    <a:r>
                      <a:t>24.45</a:t>
                    </a:r>
                  </a:p>
                </c:rich>
              </c:tx>
              <c:showLegendKey val="0"/>
              <c:showVal val="1"/>
              <c:showCatName val="0"/>
              <c:showSerName val="0"/>
              <c:showPercent val="0"/>
              <c:showBubbleSize val="0"/>
            </c:dLbl>
            <c:dLbl>
              <c:idx val="3"/>
              <c:tx>
                <c:rich>
                  <a:bodyPr/>
                  <a:lstStyle/>
                  <a:p>
                    <a:r>
                      <a:t>21.35</a:t>
                    </a:r>
                  </a:p>
                </c:rich>
              </c:tx>
              <c:showLegendKey val="0"/>
              <c:showVal val="1"/>
              <c:showCatName val="0"/>
              <c:showSerName val="0"/>
              <c:showPercent val="0"/>
              <c:showBubbleSize val="0"/>
            </c:dLbl>
            <c:dLbl>
              <c:idx val="4"/>
              <c:tx>
                <c:rich>
                  <a:bodyPr/>
                  <a:lstStyle/>
                  <a:p>
                    <a:r>
                      <a:t>10.38</a:t>
                    </a:r>
                  </a:p>
                </c:rich>
              </c:tx>
              <c:showLegendKey val="0"/>
              <c:showVal val="1"/>
              <c:showCatName val="0"/>
              <c:showSerName val="0"/>
              <c:showPercent val="0"/>
              <c:showBubbleSize val="0"/>
            </c:dLbl>
            <c:dLbl>
              <c:idx val="5"/>
              <c:tx>
                <c:rich>
                  <a:bodyPr/>
                  <a:lstStyle/>
                  <a:p>
                    <a:r>
                      <a:t>12.37</a:t>
                    </a:r>
                  </a:p>
                </c:rich>
              </c:tx>
              <c:showLegendKey val="0"/>
              <c:showVal val="1"/>
              <c:showCatName val="0"/>
              <c:showSerName val="0"/>
              <c:showPercent val="0"/>
              <c:showBubbleSize val="0"/>
            </c:dLbl>
            <c:dLbl>
              <c:idx val="6"/>
              <c:tx>
                <c:rich>
                  <a:bodyPr/>
                  <a:lstStyle/>
                  <a:p>
                    <a:r>
                      <a:t>16.3</a:t>
                    </a:r>
                  </a:p>
                </c:rich>
              </c:tx>
              <c:showLegendKey val="0"/>
              <c:showVal val="1"/>
              <c:showCatName val="0"/>
              <c:showSerName val="0"/>
              <c:showPercent val="0"/>
              <c:showBubbleSize val="0"/>
            </c:dLbl>
            <c:dLbl>
              <c:idx val="7"/>
              <c:tx>
                <c:rich>
                  <a:bodyPr/>
                  <a:lstStyle/>
                  <a:p>
                    <a:r>
                      <a:t>18.77</a:t>
                    </a:r>
                  </a:p>
                </c:rich>
              </c:tx>
              <c:showLegendKey val="0"/>
              <c:showVal val="1"/>
              <c:showCatName val="0"/>
              <c:showSerName val="0"/>
              <c:showPercent val="0"/>
              <c:showBubbleSize val="0"/>
            </c:dLbl>
            <c:dLbl>
              <c:idx val="8"/>
              <c:tx>
                <c:rich>
                  <a:bodyPr/>
                  <a:lstStyle/>
                  <a:p>
                    <a:r>
                      <a:t>10.63</a:t>
                    </a:r>
                  </a:p>
                </c:rich>
              </c:tx>
              <c:showLegendKey val="0"/>
              <c:showVal val="1"/>
              <c:showCatName val="0"/>
              <c:showSerName val="0"/>
              <c:showPercent val="0"/>
              <c:showBubbleSize val="0"/>
            </c:dLbl>
            <c:dLbl>
              <c:idx val="9"/>
              <c:tx>
                <c:rich>
                  <a:bodyPr/>
                  <a:lstStyle/>
                  <a:p>
                    <a:r>
                      <a:t>12.12</a:t>
                    </a:r>
                  </a:p>
                </c:rich>
              </c:tx>
              <c:showLegendKey val="0"/>
              <c:showVal val="1"/>
              <c:showCatName val="0"/>
              <c:showSerName val="0"/>
              <c:showPercent val="0"/>
              <c:showBubbleSize val="0"/>
            </c:dLbl>
            <c:dLbl>
              <c:idx val="10"/>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QUATE EASY FIT 5 5 BLADE RAZOR NORMAL 2CT</c:v>
                </c:pt>
                <c:pt idx="1">
                  <c:v>GILLETTE FUSION 5 5 BLADE RAZOR NORMAL 2CT</c:v>
                </c:pt>
                <c:pt idx="2">
                  <c:v>GILLETTE FUSION 5 5 BLADE RAZOR NORMAL 5CT</c:v>
                </c:pt>
                <c:pt idx="3">
                  <c:v>GILLETTE MACH 3 3 BLADE RAZOR NORMAL 6CT</c:v>
                </c:pt>
                <c:pt idx="4">
                  <c:v>GILLETTE MACH 3 3 BLADE RAZOR NORMAL 2CT</c:v>
                </c:pt>
                <c:pt idx="5">
                  <c:v>GILLETTE FUSION 5 5 BLADE RAZOR NORMAL 1CT</c:v>
                </c:pt>
                <c:pt idx="6">
                  <c:v>HARRY'S ORANGE 5 BLADE RAZOR NORMAL 5CT</c:v>
                </c:pt>
                <c:pt idx="7">
                  <c:v>HARRY'S SILVER 5 BLADE RAZOR NORMAL 5CT</c:v>
                </c:pt>
                <c:pt idx="8">
                  <c:v>HARRY'S NAVY BLUE 5 BLADE RAZOR NORMAL 2CT</c:v>
                </c:pt>
                <c:pt idx="9">
                  <c:v>HARRY'S SILVER 5 BLADE RAZOR NORMAL 2CT</c:v>
                </c:pt>
                <c:pt idx="10">
                  <c:v>HARRY'S SURF BLUE 5 BLADE RAZOR NORMAL 2CT</c:v>
                </c:pt>
              </c:strCache>
            </c:strRef>
          </c:cat>
          <c:val>
            <c:numRef>
              <c:f>Sheet1!$B$2:$B$12</c:f>
              <c:numCache>
                <c:formatCode>General</c:formatCode>
                <c:ptCount val="11"/>
                <c:pt idx="0">
                  <c:v>8.46</c:v>
                </c:pt>
                <c:pt idx="1">
                  <c:v>13.7</c:v>
                </c:pt>
                <c:pt idx="2">
                  <c:v>24.45</c:v>
                </c:pt>
                <c:pt idx="3">
                  <c:v>21.35</c:v>
                </c:pt>
                <c:pt idx="4">
                  <c:v>10.38</c:v>
                </c:pt>
                <c:pt idx="5">
                  <c:v>12.37</c:v>
                </c:pt>
                <c:pt idx="6">
                  <c:v>16.3</c:v>
                </c:pt>
                <c:pt idx="7">
                  <c:v>18.77</c:v>
                </c:pt>
                <c:pt idx="8">
                  <c:v>10.63</c:v>
                </c:pt>
                <c:pt idx="9">
                  <c:v>12.12</c:v>
                </c:pt>
                <c:pt idx="10">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2</a:t>
                    </a:r>
                  </a:p>
                </c:rich>
              </c:tx>
              <c:showLegendKey val="0"/>
              <c:showVal val="1"/>
              <c:showCatName val="0"/>
              <c:showSerName val="0"/>
              <c:showPercent val="0"/>
              <c:showBubbleSize val="0"/>
            </c:dLbl>
            <c:dLbl>
              <c:idx val="1"/>
              <c:tx>
                <c:rich>
                  <a:bodyPr/>
                  <a:lstStyle/>
                  <a:p>
                    <a:r>
                      <a:t>16.73</a:t>
                    </a:r>
                  </a:p>
                </c:rich>
              </c:tx>
              <c:showLegendKey val="0"/>
              <c:showVal val="1"/>
              <c:showCatName val="0"/>
              <c:showSerName val="0"/>
              <c:showPercent val="0"/>
              <c:showBubbleSize val="0"/>
            </c:dLbl>
            <c:dLbl>
              <c:idx val="2"/>
              <c:tx>
                <c:rich>
                  <a:bodyPr/>
                  <a:lstStyle/>
                  <a:p>
                    <a:r>
                      <a:t>10.6</a:t>
                    </a:r>
                  </a:p>
                </c:rich>
              </c:tx>
              <c:showLegendKey val="0"/>
              <c:showVal val="1"/>
              <c:showCatName val="0"/>
              <c:showSerName val="0"/>
              <c:showPercent val="0"/>
              <c:showBubbleSize val="0"/>
            </c:dLbl>
            <c:dLbl>
              <c:idx val="3"/>
              <c:tx>
                <c:rich>
                  <a:bodyPr/>
                  <a:lstStyle/>
                  <a:p>
                    <a:r>
                      <a:t>13.7</a:t>
                    </a:r>
                  </a:p>
                </c:rich>
              </c:tx>
              <c:showLegendKey val="0"/>
              <c:showVal val="1"/>
              <c:showCatName val="0"/>
              <c:showSerName val="0"/>
              <c:showPercent val="0"/>
              <c:showBubbleSize val="0"/>
            </c:dLbl>
            <c:dLbl>
              <c:idx val="4"/>
              <c:tx>
                <c:rich>
                  <a:bodyPr/>
                  <a:lstStyle/>
                  <a:p>
                    <a:r>
                      <a:t>24.45</a:t>
                    </a:r>
                  </a:p>
                </c:rich>
              </c:tx>
              <c:showLegendKey val="0"/>
              <c:showVal val="1"/>
              <c:showCatName val="0"/>
              <c:showSerName val="0"/>
              <c:showPercent val="0"/>
              <c:showBubbleSize val="0"/>
            </c:dLbl>
            <c:dLbl>
              <c:idx val="5"/>
              <c:tx>
                <c:rich>
                  <a:bodyPr/>
                  <a:lstStyle/>
                  <a:p>
                    <a:r>
                      <a:t>21.35</a:t>
                    </a:r>
                  </a:p>
                </c:rich>
              </c:tx>
              <c:showLegendKey val="0"/>
              <c:showVal val="1"/>
              <c:showCatName val="0"/>
              <c:showSerName val="0"/>
              <c:showPercent val="0"/>
              <c:showBubbleSize val="0"/>
            </c:dLbl>
            <c:dLbl>
              <c:idx val="6"/>
              <c:tx>
                <c:rich>
                  <a:bodyPr/>
                  <a:lstStyle/>
                  <a:p>
                    <a:r>
                      <a:t>10.38</a:t>
                    </a:r>
                  </a:p>
                </c:rich>
              </c:tx>
              <c:showLegendKey val="0"/>
              <c:showVal val="1"/>
              <c:showCatName val="0"/>
              <c:showSerName val="0"/>
              <c:showPercent val="0"/>
              <c:showBubbleSize val="0"/>
            </c:dLbl>
            <c:dLbl>
              <c:idx val="7"/>
              <c:tx>
                <c:rich>
                  <a:bodyPr/>
                  <a:lstStyle/>
                  <a:p>
                    <a:r>
                      <a:t>12.37</a:t>
                    </a:r>
                  </a:p>
                </c:rich>
              </c:tx>
              <c:showLegendKey val="0"/>
              <c:showVal val="1"/>
              <c:showCatName val="0"/>
              <c:showSerName val="0"/>
              <c:showPercent val="0"/>
              <c:showBubbleSize val="0"/>
            </c:dLbl>
            <c:dLbl>
              <c:idx val="8"/>
              <c:tx>
                <c:rich>
                  <a:bodyPr/>
                  <a:lstStyle/>
                  <a:p>
                    <a:r>
                      <a:t>16.3</a:t>
                    </a:r>
                  </a:p>
                </c:rich>
              </c:tx>
              <c:showLegendKey val="0"/>
              <c:showVal val="1"/>
              <c:showCatName val="0"/>
              <c:showSerName val="0"/>
              <c:showPercent val="0"/>
              <c:showBubbleSize val="0"/>
            </c:dLbl>
            <c:dLbl>
              <c:idx val="9"/>
              <c:tx>
                <c:rich>
                  <a:bodyPr/>
                  <a:lstStyle/>
                  <a:p>
                    <a:r>
                      <a:t>18.77</a:t>
                    </a:r>
                  </a:p>
                </c:rich>
              </c:tx>
              <c:showLegendKey val="0"/>
              <c:showVal val="1"/>
              <c:showCatName val="0"/>
              <c:showSerName val="0"/>
              <c:showPercent val="0"/>
              <c:showBubbleSize val="0"/>
            </c:dLbl>
            <c:dLbl>
              <c:idx val="10"/>
              <c:tx>
                <c:rich>
                  <a:bodyPr/>
                  <a:lstStyle/>
                  <a:p>
                    <a:r>
                      <a:t>10.63</a:t>
                    </a:r>
                  </a:p>
                </c:rich>
              </c:tx>
              <c:showLegendKey val="0"/>
              <c:showVal val="1"/>
              <c:showCatName val="0"/>
              <c:showSerName val="0"/>
              <c:showPercent val="0"/>
              <c:showBubbleSize val="0"/>
            </c:dLbl>
            <c:dLbl>
              <c:idx val="11"/>
              <c:tx>
                <c:rich>
                  <a:bodyPr/>
                  <a:lstStyle/>
                  <a:p>
                    <a:r>
                      <a:t>12.12</a:t>
                    </a:r>
                  </a:p>
                </c:rich>
              </c:tx>
              <c:showLegendKey val="0"/>
              <c:showVal val="1"/>
              <c:showCatName val="0"/>
              <c:showSerName val="0"/>
              <c:showPercent val="0"/>
              <c:showBubbleSize val="0"/>
            </c:dLbl>
            <c:dLbl>
              <c:idx val="12"/>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REMO 5 BLADE RAZOR NORMAL 2CT</c:v>
                </c:pt>
                <c:pt idx="1">
                  <c:v>CREMO SILVER HOLIDAY GIFT PACK REM BLADES RAZOR 5CT</c:v>
                </c:pt>
                <c:pt idx="2">
                  <c:v>CREMO SILVER HOLIDAY GIFT PACK 5 BLADE RAZOR 5CT</c:v>
                </c:pt>
                <c:pt idx="3">
                  <c:v>GILLETTE FUSION 5 5 BLADE RAZOR NORMAL 2CT</c:v>
                </c:pt>
                <c:pt idx="4">
                  <c:v>GILLETTE FUSION 5 5 BLADE RAZOR NORMAL 5CT</c:v>
                </c:pt>
                <c:pt idx="5">
                  <c:v>GILLETTE MACH 3 3 BLADE RAZOR NORMAL 6CT</c:v>
                </c:pt>
                <c:pt idx="6">
                  <c:v>GILLETTE MACH 3 3 BLADE RAZOR NORMAL 2CT</c:v>
                </c:pt>
                <c:pt idx="7">
                  <c:v>GILLETTE FUSION 5 5 BLADE RAZOR NORMAL 1CT</c:v>
                </c:pt>
                <c:pt idx="8">
                  <c:v>HARRY'S ORANGE 5 BLADE RAZOR NORMAL 5CT</c:v>
                </c:pt>
                <c:pt idx="9">
                  <c:v>HARRY'S SILVER 5 BLADE RAZOR NORMAL 5CT</c:v>
                </c:pt>
                <c:pt idx="10">
                  <c:v>HARRY'S NAVY BLUE 5 BLADE RAZOR NORMAL 2CT</c:v>
                </c:pt>
                <c:pt idx="11">
                  <c:v>HARRY'S SILVER 5 BLADE RAZOR NORMAL 2CT</c:v>
                </c:pt>
                <c:pt idx="12">
                  <c:v>HARRY'S SURF BLUE 5 BLADE RAZOR NORMAL 2CT</c:v>
                </c:pt>
              </c:strCache>
            </c:strRef>
          </c:cat>
          <c:val>
            <c:numRef>
              <c:f>Sheet1!$B$2:$B$14</c:f>
              <c:numCache>
                <c:formatCode>General</c:formatCode>
                <c:ptCount val="13"/>
                <c:pt idx="0">
                  <c:v>15.52</c:v>
                </c:pt>
                <c:pt idx="1">
                  <c:v>16.73</c:v>
                </c:pt>
                <c:pt idx="2">
                  <c:v>10.6</c:v>
                </c:pt>
                <c:pt idx="3">
                  <c:v>13.7</c:v>
                </c:pt>
                <c:pt idx="4">
                  <c:v>24.45</c:v>
                </c:pt>
                <c:pt idx="5">
                  <c:v>21.35</c:v>
                </c:pt>
                <c:pt idx="6">
                  <c:v>10.38</c:v>
                </c:pt>
                <c:pt idx="7">
                  <c:v>12.37</c:v>
                </c:pt>
                <c:pt idx="8">
                  <c:v>16.3</c:v>
                </c:pt>
                <c:pt idx="9">
                  <c:v>18.77</c:v>
                </c:pt>
                <c:pt idx="10">
                  <c:v>10.63</c:v>
                </c:pt>
                <c:pt idx="11">
                  <c:v>12.12</c:v>
                </c:pt>
                <c:pt idx="12">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6</a:t>
                    </a:r>
                  </a:p>
                </c:rich>
              </c:tx>
              <c:showLegendKey val="0"/>
              <c:showVal val="1"/>
              <c:showCatName val="0"/>
              <c:showSerName val="0"/>
              <c:showPercent val="0"/>
              <c:showBubbleSize val="0"/>
            </c:dLbl>
            <c:dLbl>
              <c:idx val="1"/>
              <c:tx>
                <c:rich>
                  <a:bodyPr/>
                  <a:lstStyle/>
                  <a:p>
                    <a:r>
                      <a:t>9.99</a:t>
                    </a:r>
                  </a:p>
                </c:rich>
              </c:tx>
              <c:showLegendKey val="0"/>
              <c:showVal val="1"/>
              <c:showCatName val="0"/>
              <c:showSerName val="0"/>
              <c:showPercent val="0"/>
              <c:showBubbleSize val="0"/>
            </c:dLbl>
            <c:dLbl>
              <c:idx val="2"/>
              <c:tx>
                <c:rich>
                  <a:bodyPr/>
                  <a:lstStyle/>
                  <a:p>
                    <a:r>
                      <a:t>9.94</a:t>
                    </a:r>
                  </a:p>
                </c:rich>
              </c:tx>
              <c:showLegendKey val="0"/>
              <c:showVal val="1"/>
              <c:showCatName val="0"/>
              <c:showSerName val="0"/>
              <c:showPercent val="0"/>
              <c:showBubbleSize val="0"/>
            </c:dLbl>
            <c:dLbl>
              <c:idx val="3"/>
              <c:tx>
                <c:rich>
                  <a:bodyPr/>
                  <a:lstStyle/>
                  <a:p>
                    <a:r>
                      <a:t>23.89</a:t>
                    </a:r>
                  </a:p>
                </c:rich>
              </c:tx>
              <c:showLegendKey val="0"/>
              <c:showVal val="1"/>
              <c:showCatName val="0"/>
              <c:showSerName val="0"/>
              <c:showPercent val="0"/>
              <c:showBubbleSize val="0"/>
            </c:dLbl>
            <c:dLbl>
              <c:idx val="4"/>
              <c:tx>
                <c:rich>
                  <a:bodyPr/>
                  <a:lstStyle/>
                  <a:p>
                    <a:r>
                      <a:t>13.47</a:t>
                    </a:r>
                  </a:p>
                </c:rich>
              </c:tx>
              <c:showLegendKey val="0"/>
              <c:showVal val="1"/>
              <c:showCatName val="0"/>
              <c:showSerName val="0"/>
              <c:showPercent val="0"/>
              <c:showBubbleSize val="0"/>
            </c:dLbl>
            <c:dLbl>
              <c:idx val="5"/>
              <c:tx>
                <c:rich>
                  <a:bodyPr/>
                  <a:lstStyle/>
                  <a:p>
                    <a:r>
                      <a:t>20.81</a:t>
                    </a:r>
                  </a:p>
                </c:rich>
              </c:tx>
              <c:showLegendKey val="0"/>
              <c:showVal val="1"/>
              <c:showCatName val="0"/>
              <c:showSerName val="0"/>
              <c:showPercent val="0"/>
              <c:showBubbleSize val="0"/>
            </c:dLbl>
            <c:dLbl>
              <c:idx val="6"/>
              <c:tx>
                <c:rich>
                  <a:bodyPr/>
                  <a:lstStyle/>
                  <a:p>
                    <a:r>
                      <a:t>10.12</a:t>
                    </a:r>
                  </a:p>
                </c:rich>
              </c:tx>
              <c:showLegendKey val="0"/>
              <c:showVal val="1"/>
              <c:showCatName val="0"/>
              <c:showSerName val="0"/>
              <c:showPercent val="0"/>
              <c:showBubbleSize val="0"/>
            </c:dLbl>
            <c:dLbl>
              <c:idx val="7"/>
              <c:tx>
                <c:rich>
                  <a:bodyPr/>
                  <a:lstStyle/>
                  <a:p>
                    <a:r>
                      <a:t>29.18</a:t>
                    </a:r>
                  </a:p>
                </c:rich>
              </c:tx>
              <c:showLegendKey val="0"/>
              <c:showVal val="1"/>
              <c:showCatName val="0"/>
              <c:showSerName val="0"/>
              <c:showPercent val="0"/>
              <c:showBubbleSize val="0"/>
            </c:dLbl>
            <c:dLbl>
              <c:idx val="8"/>
              <c:tx>
                <c:rich>
                  <a:bodyPr/>
                  <a:lstStyle/>
                  <a:p>
                    <a:r>
                      <a:t>16.01</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17.92</a:t>
                    </a:r>
                  </a:p>
                </c:rich>
              </c:tx>
              <c:showLegendKey val="0"/>
              <c:showVal val="1"/>
              <c:showCatName val="0"/>
              <c:showSerName val="0"/>
              <c:showPercent val="0"/>
              <c:showBubbleSize val="0"/>
            </c:dLbl>
            <c:dLbl>
              <c:idx val="11"/>
              <c:tx>
                <c:rich>
                  <a:bodyPr/>
                  <a:lstStyle/>
                  <a:p>
                    <a:r>
                      <a:t>11.97</a:t>
                    </a:r>
                  </a:p>
                </c:rich>
              </c:tx>
              <c:showLegendKey val="0"/>
              <c:showVal val="1"/>
              <c:showCatName val="0"/>
              <c:showSerName val="0"/>
              <c:showPercent val="0"/>
              <c:showBubbleSize val="0"/>
            </c:dLbl>
            <c:dLbl>
              <c:idx val="12"/>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HYDRO 5 SENSITIVE 5 BLADE RAZOR SENSITIVE 3CT</c:v>
                </c:pt>
                <c:pt idx="1">
                  <c:v>HYDRO 5 SENSITIVE GRAY HOLIDAY GIFT PACK 5 BLADE RAZOR SENSITIVE 3CT</c:v>
                </c:pt>
                <c:pt idx="2">
                  <c:v>SCHICK HYDRO 3 SENSITIVE 3 BLADE RAZOR SENSITIVE 4CT</c:v>
                </c:pt>
                <c:pt idx="3">
                  <c:v>GILLETTE FUSION 5 5 BLADE RAZOR NORMAL 5CT</c:v>
                </c:pt>
                <c:pt idx="4">
                  <c:v>GILLETTE FUSION 5 5 BLADE RAZOR NORMAL 2CT</c:v>
                </c:pt>
                <c:pt idx="5">
                  <c:v>GILLETTE MACH 3 3 BLADE RAZOR NORMAL 6CT</c:v>
                </c:pt>
                <c:pt idx="6">
                  <c:v>GILLETTE MACH 3 3 BLADE RAZOR NORMAL 2CT</c:v>
                </c:pt>
                <c:pt idx="7">
                  <c:v>GILLETTE FUSION 5 5 BLADE RAZOR NORMAL 7CT</c:v>
                </c:pt>
                <c:pt idx="8">
                  <c:v>HARRY'S ORANGE 5 BLADE RAZOR NORMAL 5CT</c:v>
                </c:pt>
                <c:pt idx="9">
                  <c:v>HARRY'S SURF BLUE 5 BLADE RAZOR NORMAL 2CT</c:v>
                </c:pt>
                <c:pt idx="10">
                  <c:v>HARRY'S SILVER 5 BLADE RAZOR NORMAL 5CT</c:v>
                </c:pt>
                <c:pt idx="11">
                  <c:v>HARRY'S SILVER 5 BLADE RAZOR NORMAL 2CT</c:v>
                </c:pt>
                <c:pt idx="12">
                  <c:v>HARRY'S CRAFT HANDLE SILVER 5 BLADE RAZOR NORMAL 2CT</c:v>
                </c:pt>
              </c:strCache>
            </c:strRef>
          </c:cat>
          <c:val>
            <c:numRef>
              <c:f>Sheet1!$B$2:$B$14</c:f>
              <c:numCache>
                <c:formatCode>General</c:formatCode>
                <c:ptCount val="13"/>
                <c:pt idx="0">
                  <c:v>9.96</c:v>
                </c:pt>
                <c:pt idx="1">
                  <c:v>9.99</c:v>
                </c:pt>
                <c:pt idx="2">
                  <c:v>9.94</c:v>
                </c:pt>
                <c:pt idx="3">
                  <c:v>23.89</c:v>
                </c:pt>
                <c:pt idx="4">
                  <c:v>13.47</c:v>
                </c:pt>
                <c:pt idx="5">
                  <c:v>20.81</c:v>
                </c:pt>
                <c:pt idx="6">
                  <c:v>10.12</c:v>
                </c:pt>
                <c:pt idx="7">
                  <c:v>29.18</c:v>
                </c:pt>
                <c:pt idx="8">
                  <c:v>16.01</c:v>
                </c:pt>
                <c:pt idx="9">
                  <c:v>9.99</c:v>
                </c:pt>
                <c:pt idx="10">
                  <c:v>17.92</c:v>
                </c:pt>
                <c:pt idx="11">
                  <c:v>11.97</c:v>
                </c:pt>
                <c:pt idx="12">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6</a:t>
                    </a:r>
                  </a:p>
                </c:rich>
              </c:tx>
              <c:showLegendKey val="0"/>
              <c:showVal val="1"/>
              <c:showCatName val="0"/>
              <c:showSerName val="0"/>
              <c:showPercent val="0"/>
              <c:showBubbleSize val="0"/>
            </c:dLbl>
            <c:dLbl>
              <c:idx val="1"/>
              <c:tx>
                <c:rich>
                  <a:bodyPr/>
                  <a:lstStyle/>
                  <a:p>
                    <a:r>
                      <a:t>23.89</a:t>
                    </a:r>
                  </a:p>
                </c:rich>
              </c:tx>
              <c:showLegendKey val="0"/>
              <c:showVal val="1"/>
              <c:showCatName val="0"/>
              <c:showSerName val="0"/>
              <c:showPercent val="0"/>
              <c:showBubbleSize val="0"/>
            </c:dLbl>
            <c:dLbl>
              <c:idx val="2"/>
              <c:tx>
                <c:rich>
                  <a:bodyPr/>
                  <a:lstStyle/>
                  <a:p>
                    <a:r>
                      <a:t>13.47</a:t>
                    </a:r>
                  </a:p>
                </c:rich>
              </c:tx>
              <c:showLegendKey val="0"/>
              <c:showVal val="1"/>
              <c:showCatName val="0"/>
              <c:showSerName val="0"/>
              <c:showPercent val="0"/>
              <c:showBubbleSize val="0"/>
            </c:dLbl>
            <c:dLbl>
              <c:idx val="3"/>
              <c:tx>
                <c:rich>
                  <a:bodyPr/>
                  <a:lstStyle/>
                  <a:p>
                    <a:r>
                      <a:t>20.81</a:t>
                    </a:r>
                  </a:p>
                </c:rich>
              </c:tx>
              <c:showLegendKey val="0"/>
              <c:showVal val="1"/>
              <c:showCatName val="0"/>
              <c:showSerName val="0"/>
              <c:showPercent val="0"/>
              <c:showBubbleSize val="0"/>
            </c:dLbl>
            <c:dLbl>
              <c:idx val="4"/>
              <c:tx>
                <c:rich>
                  <a:bodyPr/>
                  <a:lstStyle/>
                  <a:p>
                    <a:r>
                      <a:t>10.12</a:t>
                    </a:r>
                  </a:p>
                </c:rich>
              </c:tx>
              <c:showLegendKey val="0"/>
              <c:showVal val="1"/>
              <c:showCatName val="0"/>
              <c:showSerName val="0"/>
              <c:showPercent val="0"/>
              <c:showBubbleSize val="0"/>
            </c:dLbl>
            <c:dLbl>
              <c:idx val="5"/>
              <c:tx>
                <c:rich>
                  <a:bodyPr/>
                  <a:lstStyle/>
                  <a:p>
                    <a:r>
                      <a:t>29.18</a:t>
                    </a:r>
                  </a:p>
                </c:rich>
              </c:tx>
              <c:showLegendKey val="0"/>
              <c:showVal val="1"/>
              <c:showCatName val="0"/>
              <c:showSerName val="0"/>
              <c:showPercent val="0"/>
              <c:showBubbleSize val="0"/>
            </c:dLbl>
            <c:dLbl>
              <c:idx val="6"/>
              <c:tx>
                <c:rich>
                  <a:bodyPr/>
                  <a:lstStyle/>
                  <a:p>
                    <a:r>
                      <a:t>16.01</a:t>
                    </a:r>
                  </a:p>
                </c:rich>
              </c:tx>
              <c:showLegendKey val="0"/>
              <c:showVal val="1"/>
              <c:showCatName val="0"/>
              <c:showSerName val="0"/>
              <c:showPercent val="0"/>
              <c:showBubbleSize val="0"/>
            </c:dLbl>
            <c:dLbl>
              <c:idx val="7"/>
              <c:tx>
                <c:rich>
                  <a:bodyPr/>
                  <a:lstStyle/>
                  <a:p>
                    <a:r>
                      <a:t>9.99</a:t>
                    </a:r>
                  </a:p>
                </c:rich>
              </c:tx>
              <c:showLegendKey val="0"/>
              <c:showVal val="1"/>
              <c:showCatName val="0"/>
              <c:showSerName val="0"/>
              <c:showPercent val="0"/>
              <c:showBubbleSize val="0"/>
            </c:dLbl>
            <c:dLbl>
              <c:idx val="8"/>
              <c:tx>
                <c:rich>
                  <a:bodyPr/>
                  <a:lstStyle/>
                  <a:p>
                    <a:r>
                      <a:t>17.92</a:t>
                    </a:r>
                  </a:p>
                </c:rich>
              </c:tx>
              <c:showLegendKey val="0"/>
              <c:showVal val="1"/>
              <c:showCatName val="0"/>
              <c:showSerName val="0"/>
              <c:showPercent val="0"/>
              <c:showBubbleSize val="0"/>
            </c:dLbl>
            <c:dLbl>
              <c:idx val="9"/>
              <c:tx>
                <c:rich>
                  <a:bodyPr/>
                  <a:lstStyle/>
                  <a:p>
                    <a:r>
                      <a:t>11.97</a:t>
                    </a:r>
                  </a:p>
                </c:rich>
              </c:tx>
              <c:showLegendKey val="0"/>
              <c:showVal val="1"/>
              <c:showCatName val="0"/>
              <c:showSerName val="0"/>
              <c:showPercent val="0"/>
              <c:showBubbleSize val="0"/>
            </c:dLbl>
            <c:dLbl>
              <c:idx val="10"/>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QUATE EASY FIT 5 5 BLADE RAZOR NORMAL 2CT</c:v>
                </c:pt>
                <c:pt idx="1">
                  <c:v>GILLETTE FUSION 5 5 BLADE RAZOR NORMAL 5CT</c:v>
                </c:pt>
                <c:pt idx="2">
                  <c:v>GILLETTE FUSION 5 5 BLADE RAZOR NORMAL 2CT</c:v>
                </c:pt>
                <c:pt idx="3">
                  <c:v>GILLETTE MACH 3 3 BLADE RAZOR NORMAL 6CT</c:v>
                </c:pt>
                <c:pt idx="4">
                  <c:v>GILLETTE MACH 3 3 BLADE RAZOR NORMAL 2CT</c:v>
                </c:pt>
                <c:pt idx="5">
                  <c:v>GILLETTE FUSION 5 5 BLADE RAZOR NORMAL 7CT</c:v>
                </c:pt>
                <c:pt idx="6">
                  <c:v>HARRY'S ORANGE 5 BLADE RAZOR NORMAL 5CT</c:v>
                </c:pt>
                <c:pt idx="7">
                  <c:v>HARRY'S SURF BLUE 5 BLADE RAZOR NORMAL 2CT</c:v>
                </c:pt>
                <c:pt idx="8">
                  <c:v>HARRY'S SILVER 5 BLADE RAZOR NORMAL 5CT</c:v>
                </c:pt>
                <c:pt idx="9">
                  <c:v>HARRY'S SILVER 5 BLADE RAZOR NORMAL 2CT</c:v>
                </c:pt>
                <c:pt idx="10">
                  <c:v>HARRY'S CRAFT HANDLE SILVER 5 BLADE RAZOR NORMAL 2CT</c:v>
                </c:pt>
              </c:strCache>
            </c:strRef>
          </c:cat>
          <c:val>
            <c:numRef>
              <c:f>Sheet1!$B$2:$B$12</c:f>
              <c:numCache>
                <c:formatCode>General</c:formatCode>
                <c:ptCount val="11"/>
                <c:pt idx="0">
                  <c:v>8.46</c:v>
                </c:pt>
                <c:pt idx="1">
                  <c:v>23.89</c:v>
                </c:pt>
                <c:pt idx="2">
                  <c:v>13.47</c:v>
                </c:pt>
                <c:pt idx="3">
                  <c:v>20.81</c:v>
                </c:pt>
                <c:pt idx="4">
                  <c:v>10.12</c:v>
                </c:pt>
                <c:pt idx="5">
                  <c:v>29.18</c:v>
                </c:pt>
                <c:pt idx="6">
                  <c:v>16.01</c:v>
                </c:pt>
                <c:pt idx="7">
                  <c:v>9.99</c:v>
                </c:pt>
                <c:pt idx="8">
                  <c:v>17.92</c:v>
                </c:pt>
                <c:pt idx="9">
                  <c:v>11.97</c:v>
                </c:pt>
                <c:pt idx="10">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23.89</a:t>
                    </a:r>
                  </a:p>
                </c:rich>
              </c:tx>
              <c:showLegendKey val="0"/>
              <c:showVal val="1"/>
              <c:showCatName val="0"/>
              <c:showSerName val="0"/>
              <c:showPercent val="0"/>
              <c:showBubbleSize val="0"/>
            </c:dLbl>
            <c:dLbl>
              <c:idx val="2"/>
              <c:tx>
                <c:rich>
                  <a:bodyPr/>
                  <a:lstStyle/>
                  <a:p>
                    <a:r>
                      <a:t>13.47</a:t>
                    </a:r>
                  </a:p>
                </c:rich>
              </c:tx>
              <c:showLegendKey val="0"/>
              <c:showVal val="1"/>
              <c:showCatName val="0"/>
              <c:showSerName val="0"/>
              <c:showPercent val="0"/>
              <c:showBubbleSize val="0"/>
            </c:dLbl>
            <c:dLbl>
              <c:idx val="3"/>
              <c:tx>
                <c:rich>
                  <a:bodyPr/>
                  <a:lstStyle/>
                  <a:p>
                    <a:r>
                      <a:t>20.81</a:t>
                    </a:r>
                  </a:p>
                </c:rich>
              </c:tx>
              <c:showLegendKey val="0"/>
              <c:showVal val="1"/>
              <c:showCatName val="0"/>
              <c:showSerName val="0"/>
              <c:showPercent val="0"/>
              <c:showBubbleSize val="0"/>
            </c:dLbl>
            <c:dLbl>
              <c:idx val="4"/>
              <c:tx>
                <c:rich>
                  <a:bodyPr/>
                  <a:lstStyle/>
                  <a:p>
                    <a:r>
                      <a:t>10.12</a:t>
                    </a:r>
                  </a:p>
                </c:rich>
              </c:tx>
              <c:showLegendKey val="0"/>
              <c:showVal val="1"/>
              <c:showCatName val="0"/>
              <c:showSerName val="0"/>
              <c:showPercent val="0"/>
              <c:showBubbleSize val="0"/>
            </c:dLbl>
            <c:dLbl>
              <c:idx val="5"/>
              <c:tx>
                <c:rich>
                  <a:bodyPr/>
                  <a:lstStyle/>
                  <a:p>
                    <a:r>
                      <a:t>29.18</a:t>
                    </a:r>
                  </a:p>
                </c:rich>
              </c:tx>
              <c:showLegendKey val="0"/>
              <c:showVal val="1"/>
              <c:showCatName val="0"/>
              <c:showSerName val="0"/>
              <c:showPercent val="0"/>
              <c:showBubbleSize val="0"/>
            </c:dLbl>
            <c:dLbl>
              <c:idx val="6"/>
              <c:tx>
                <c:rich>
                  <a:bodyPr/>
                  <a:lstStyle/>
                  <a:p>
                    <a:r>
                      <a:t>16.01</a:t>
                    </a:r>
                  </a:p>
                </c:rich>
              </c:tx>
              <c:showLegendKey val="0"/>
              <c:showVal val="1"/>
              <c:showCatName val="0"/>
              <c:showSerName val="0"/>
              <c:showPercent val="0"/>
              <c:showBubbleSize val="0"/>
            </c:dLbl>
            <c:dLbl>
              <c:idx val="7"/>
              <c:tx>
                <c:rich>
                  <a:bodyPr/>
                  <a:lstStyle/>
                  <a:p>
                    <a:r>
                      <a:t>9.99</a:t>
                    </a:r>
                  </a:p>
                </c:rich>
              </c:tx>
              <c:showLegendKey val="0"/>
              <c:showVal val="1"/>
              <c:showCatName val="0"/>
              <c:showSerName val="0"/>
              <c:showPercent val="0"/>
              <c:showBubbleSize val="0"/>
            </c:dLbl>
            <c:dLbl>
              <c:idx val="8"/>
              <c:tx>
                <c:rich>
                  <a:bodyPr/>
                  <a:lstStyle/>
                  <a:p>
                    <a:r>
                      <a:t>17.92</a:t>
                    </a:r>
                  </a:p>
                </c:rich>
              </c:tx>
              <c:showLegendKey val="0"/>
              <c:showVal val="1"/>
              <c:showCatName val="0"/>
              <c:showSerName val="0"/>
              <c:showPercent val="0"/>
              <c:showBubbleSize val="0"/>
            </c:dLbl>
            <c:dLbl>
              <c:idx val="9"/>
              <c:tx>
                <c:rich>
                  <a:bodyPr/>
                  <a:lstStyle/>
                  <a:p>
                    <a:r>
                      <a:t>11.97</a:t>
                    </a:r>
                  </a:p>
                </c:rich>
              </c:tx>
              <c:showLegendKey val="0"/>
              <c:showVal val="1"/>
              <c:showCatName val="0"/>
              <c:showSerName val="0"/>
              <c:showPercent val="0"/>
              <c:showBubbleSize val="0"/>
            </c:dLbl>
            <c:dLbl>
              <c:idx val="10"/>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REMO 5 BLADE RAZOR NORMAL 2CT</c:v>
                </c:pt>
                <c:pt idx="1">
                  <c:v>GILLETTE FUSION 5 5 BLADE RAZOR NORMAL 5CT</c:v>
                </c:pt>
                <c:pt idx="2">
                  <c:v>GILLETTE FUSION 5 5 BLADE RAZOR NORMAL 2CT</c:v>
                </c:pt>
                <c:pt idx="3">
                  <c:v>GILLETTE MACH 3 3 BLADE RAZOR NORMAL 6CT</c:v>
                </c:pt>
                <c:pt idx="4">
                  <c:v>GILLETTE MACH 3 3 BLADE RAZOR NORMAL 2CT</c:v>
                </c:pt>
                <c:pt idx="5">
                  <c:v>GILLETTE FUSION 5 5 BLADE RAZOR NORMAL 7CT</c:v>
                </c:pt>
                <c:pt idx="6">
                  <c:v>HARRY'S ORANGE 5 BLADE RAZOR NORMAL 5CT</c:v>
                </c:pt>
                <c:pt idx="7">
                  <c:v>HARRY'S SURF BLUE 5 BLADE RAZOR NORMAL 2CT</c:v>
                </c:pt>
                <c:pt idx="8">
                  <c:v>HARRY'S SILVER 5 BLADE RAZOR NORMAL 5CT</c:v>
                </c:pt>
                <c:pt idx="9">
                  <c:v>HARRY'S SILVER 5 BLADE RAZOR NORMAL 2CT</c:v>
                </c:pt>
                <c:pt idx="10">
                  <c:v>HARRY'S CRAFT HANDLE SILVER 5 BLADE RAZOR NORMAL 2CT</c:v>
                </c:pt>
              </c:strCache>
            </c:strRef>
          </c:cat>
          <c:val>
            <c:numRef>
              <c:f>Sheet1!$B$2:$B$12</c:f>
              <c:numCache>
                <c:formatCode>General</c:formatCode>
                <c:ptCount val="11"/>
                <c:pt idx="0">
                  <c:v>16.85</c:v>
                </c:pt>
                <c:pt idx="1">
                  <c:v>23.89</c:v>
                </c:pt>
                <c:pt idx="2">
                  <c:v>13.47</c:v>
                </c:pt>
                <c:pt idx="3">
                  <c:v>20.81</c:v>
                </c:pt>
                <c:pt idx="4">
                  <c:v>10.12</c:v>
                </c:pt>
                <c:pt idx="5">
                  <c:v>29.18</c:v>
                </c:pt>
                <c:pt idx="6">
                  <c:v>16.01</c:v>
                </c:pt>
                <c:pt idx="7">
                  <c:v>9.99</c:v>
                </c:pt>
                <c:pt idx="8">
                  <c:v>17.92</c:v>
                </c:pt>
                <c:pt idx="9">
                  <c:v>11.97</c:v>
                </c:pt>
                <c:pt idx="10">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26.91</a:t>
                    </a:r>
                  </a:p>
                </c:rich>
              </c:tx>
              <c:showLegendKey val="0"/>
              <c:showVal val="1"/>
              <c:showCatName val="0"/>
              <c:showSerName val="0"/>
              <c:showPercent val="0"/>
              <c:showBubbleSize val="0"/>
            </c:dLbl>
            <c:dLbl>
              <c:idx val="2"/>
              <c:tx>
                <c:rich>
                  <a:bodyPr/>
                  <a:lstStyle/>
                  <a:p>
                    <a:r>
                      <a:t>16.88</a:t>
                    </a:r>
                  </a:p>
                </c:rich>
              </c:tx>
              <c:showLegendKey val="0"/>
              <c:showVal val="1"/>
              <c:showCatName val="0"/>
              <c:showSerName val="0"/>
              <c:showPercent val="0"/>
              <c:showBubbleSize val="0"/>
            </c:dLbl>
            <c:dLbl>
              <c:idx val="3"/>
              <c:tx>
                <c:rich>
                  <a:bodyPr/>
                  <a:lstStyle/>
                  <a:p>
                    <a:r>
                      <a:t>13.58</a:t>
                    </a:r>
                  </a:p>
                </c:rich>
              </c:tx>
              <c:showLegendKey val="0"/>
              <c:showVal val="1"/>
              <c:showCatName val="0"/>
              <c:showSerName val="0"/>
              <c:showPercent val="0"/>
              <c:showBubbleSize val="0"/>
            </c:dLbl>
            <c:dLbl>
              <c:idx val="4"/>
              <c:tx>
                <c:rich>
                  <a:bodyPr/>
                  <a:lstStyle/>
                  <a:p>
                    <a:r>
                      <a:t>23.94</a:t>
                    </a:r>
                  </a:p>
                </c:rich>
              </c:tx>
              <c:showLegendKey val="0"/>
              <c:showVal val="1"/>
              <c:showCatName val="0"/>
              <c:showSerName val="0"/>
              <c:showPercent val="0"/>
              <c:showBubbleSize val="0"/>
            </c:dLbl>
            <c:dLbl>
              <c:idx val="5"/>
              <c:tx>
                <c:rich>
                  <a:bodyPr/>
                  <a:lstStyle/>
                  <a:p>
                    <a:r>
                      <a:t>19.45</a:t>
                    </a:r>
                  </a:p>
                </c:rich>
              </c:tx>
              <c:showLegendKey val="0"/>
              <c:showVal val="1"/>
              <c:showCatName val="0"/>
              <c:showSerName val="0"/>
              <c:showPercent val="0"/>
              <c:showBubbleSize val="0"/>
            </c:dLbl>
            <c:dLbl>
              <c:idx val="6"/>
              <c:tx>
                <c:rich>
                  <a:bodyPr/>
                  <a:lstStyle/>
                  <a:p>
                    <a:r>
                      <a:t>42.25</a:t>
                    </a:r>
                  </a:p>
                </c:rich>
              </c:tx>
              <c:showLegendKey val="0"/>
              <c:showVal val="1"/>
              <c:showCatName val="0"/>
              <c:showSerName val="0"/>
              <c:showPercent val="0"/>
              <c:showBubbleSize val="0"/>
            </c:dLbl>
            <c:dLbl>
              <c:idx val="7"/>
              <c:tx>
                <c:rich>
                  <a:bodyPr/>
                  <a:lstStyle/>
                  <a:p>
                    <a:r>
                      <a:t>13.06</a:t>
                    </a:r>
                  </a:p>
                </c:rich>
              </c:tx>
              <c:showLegendKey val="0"/>
              <c:showVal val="1"/>
              <c:showCatName val="0"/>
              <c:showSerName val="0"/>
              <c:showPercent val="0"/>
              <c:showBubbleSize val="0"/>
            </c:dLbl>
            <c:dLbl>
              <c:idx val="8"/>
              <c:tx>
                <c:rich>
                  <a:bodyPr/>
                  <a:lstStyle/>
                  <a:p>
                    <a:r>
                      <a:t>32.12</a:t>
                    </a:r>
                  </a:p>
                </c:rich>
              </c:tx>
              <c:showLegendKey val="0"/>
              <c:showVal val="1"/>
              <c:showCatName val="0"/>
              <c:showSerName val="0"/>
              <c:showPercent val="0"/>
              <c:showBubbleSize val="0"/>
            </c:dLbl>
            <c:dLbl>
              <c:idx val="9"/>
              <c:tx>
                <c:rich>
                  <a:bodyPr/>
                  <a:lstStyle/>
                  <a:p>
                    <a:r>
                      <a:t>42.09</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dLbl>
              <c:idx val="13"/>
              <c:tx>
                <c:rich>
                  <a:bodyPr/>
                  <a:lstStyle/>
                  <a:p>
                    <a:r>
                      <a:t>45.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GILLETTE FUSION 5 5 BLADE REFILL NORMAL 4CT</c:v>
                </c:pt>
                <c:pt idx="6">
                  <c:v>GILLETTE FUSION 5 5 BLADE REFILL NORMAL 16CT</c:v>
                </c:pt>
                <c:pt idx="7">
                  <c:v>GILLETTE MACH 3 3 BLADE REFILL NORMAL 4CT</c:v>
                </c:pt>
                <c:pt idx="8">
                  <c:v>GILLETTE FUSION 5 5 BLADE REFILL NORMAL 8CT</c:v>
                </c:pt>
                <c:pt idx="9">
                  <c:v>GILLETTE FUSION 5 5 BLADE REFILL NORMAL 12CT</c:v>
                </c:pt>
                <c:pt idx="10">
                  <c:v>HARRY'S 5 BLADE REFILL NORMAL 4CT</c:v>
                </c:pt>
                <c:pt idx="11">
                  <c:v>HARRY'S 5 BLADE REFILL NORMAL 8CT</c:v>
                </c:pt>
                <c:pt idx="12">
                  <c:v>HARRY'S 5 BLADE REFILL NORMAL 12CT</c:v>
                </c:pt>
                <c:pt idx="13">
                  <c:v>PHILIPS NORELCO ONE BLADE 1 BLADE REFILL NORMAL 5CT</c:v>
                </c:pt>
              </c:strCache>
            </c:strRef>
          </c:cat>
          <c:val>
            <c:numRef>
              <c:f>Sheet1!$B$2:$B$15</c:f>
              <c:numCache>
                <c:formatCode>General</c:formatCode>
                <c:ptCount val="14"/>
                <c:pt idx="0">
                  <c:v>15.22</c:v>
                </c:pt>
                <c:pt idx="1">
                  <c:v>26.91</c:v>
                </c:pt>
                <c:pt idx="2">
                  <c:v>16.88</c:v>
                </c:pt>
                <c:pt idx="3">
                  <c:v>13.58</c:v>
                </c:pt>
                <c:pt idx="4">
                  <c:v>23.94</c:v>
                </c:pt>
                <c:pt idx="5">
                  <c:v>19.45</c:v>
                </c:pt>
                <c:pt idx="6">
                  <c:v>42.25</c:v>
                </c:pt>
                <c:pt idx="7">
                  <c:v>13.06</c:v>
                </c:pt>
                <c:pt idx="8">
                  <c:v>32.12</c:v>
                </c:pt>
                <c:pt idx="9">
                  <c:v>42.09</c:v>
                </c:pt>
                <c:pt idx="10">
                  <c:v>10.19</c:v>
                </c:pt>
                <c:pt idx="11">
                  <c:v>17.2</c:v>
                </c:pt>
                <c:pt idx="12">
                  <c:v>24.64</c:v>
                </c:pt>
                <c:pt idx="13">
                  <c:v>45.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15.87</a:t>
                    </a:r>
                  </a:p>
                </c:rich>
              </c:tx>
              <c:showLegendKey val="0"/>
              <c:showVal val="1"/>
              <c:showCatName val="0"/>
              <c:showSerName val="0"/>
              <c:showPercent val="0"/>
              <c:showBubbleSize val="0"/>
            </c:dLbl>
            <c:dLbl>
              <c:idx val="3"/>
              <c:tx>
                <c:rich>
                  <a:bodyPr/>
                  <a:lstStyle/>
                  <a:p>
                    <a:r>
                      <a:t>19.45</a:t>
                    </a:r>
                  </a:p>
                </c:rich>
              </c:tx>
              <c:showLegendKey val="0"/>
              <c:showVal val="1"/>
              <c:showCatName val="0"/>
              <c:showSerName val="0"/>
              <c:showPercent val="0"/>
              <c:showBubbleSize val="0"/>
            </c:dLbl>
            <c:dLbl>
              <c:idx val="4"/>
              <c:tx>
                <c:rich>
                  <a:bodyPr/>
                  <a:lstStyle/>
                  <a:p>
                    <a:r>
                      <a:t>42.25</a:t>
                    </a:r>
                  </a:p>
                </c:rich>
              </c:tx>
              <c:showLegendKey val="0"/>
              <c:showVal val="1"/>
              <c:showCatName val="0"/>
              <c:showSerName val="0"/>
              <c:showPercent val="0"/>
              <c:showBubbleSize val="0"/>
            </c:dLbl>
            <c:dLbl>
              <c:idx val="5"/>
              <c:tx>
                <c:rich>
                  <a:bodyPr/>
                  <a:lstStyle/>
                  <a:p>
                    <a:r>
                      <a:t>13.06</a:t>
                    </a:r>
                  </a:p>
                </c:rich>
              </c:tx>
              <c:showLegendKey val="0"/>
              <c:showVal val="1"/>
              <c:showCatName val="0"/>
              <c:showSerName val="0"/>
              <c:showPercent val="0"/>
              <c:showBubbleSize val="0"/>
            </c:dLbl>
            <c:dLbl>
              <c:idx val="6"/>
              <c:tx>
                <c:rich>
                  <a:bodyPr/>
                  <a:lstStyle/>
                  <a:p>
                    <a:r>
                      <a:t>32.12</a:t>
                    </a:r>
                  </a:p>
                </c:rich>
              </c:tx>
              <c:showLegendKey val="0"/>
              <c:showVal val="1"/>
              <c:showCatName val="0"/>
              <c:showSerName val="0"/>
              <c:showPercent val="0"/>
              <c:showBubbleSize val="0"/>
            </c:dLbl>
            <c:dLbl>
              <c:idx val="7"/>
              <c:tx>
                <c:rich>
                  <a:bodyPr/>
                  <a:lstStyle/>
                  <a:p>
                    <a:r>
                      <a:t>42.09</a:t>
                    </a:r>
                  </a:p>
                </c:rich>
              </c:tx>
              <c:showLegendKey val="0"/>
              <c:showVal val="1"/>
              <c:showCatName val="0"/>
              <c:showSerName val="0"/>
              <c:showPercent val="0"/>
              <c:showBubbleSize val="0"/>
            </c:dLbl>
            <c:dLbl>
              <c:idx val="8"/>
              <c:tx>
                <c:rich>
                  <a:bodyPr/>
                  <a:lstStyle/>
                  <a:p>
                    <a:r>
                      <a:t>10.19</a:t>
                    </a:r>
                  </a:p>
                </c:rich>
              </c:tx>
              <c:showLegendKey val="0"/>
              <c:showVal val="1"/>
              <c:showCatName val="0"/>
              <c:showSerName val="0"/>
              <c:showPercent val="0"/>
              <c:showBubbleSize val="0"/>
            </c:dLbl>
            <c:dLbl>
              <c:idx val="9"/>
              <c:tx>
                <c:rich>
                  <a:bodyPr/>
                  <a:lstStyle/>
                  <a:p>
                    <a:r>
                      <a:t>17.2</a:t>
                    </a:r>
                  </a:p>
                </c:rich>
              </c:tx>
              <c:showLegendKey val="0"/>
              <c:showVal val="1"/>
              <c:showCatName val="0"/>
              <c:showSerName val="0"/>
              <c:showPercent val="0"/>
              <c:showBubbleSize val="0"/>
            </c:dLbl>
            <c:dLbl>
              <c:idx val="10"/>
              <c:tx>
                <c:rich>
                  <a:bodyPr/>
                  <a:lstStyle/>
                  <a:p>
                    <a:r>
                      <a:t>24.64</a:t>
                    </a:r>
                  </a:p>
                </c:rich>
              </c:tx>
              <c:showLegendKey val="0"/>
              <c:showVal val="1"/>
              <c:showCatName val="0"/>
              <c:showSerName val="0"/>
              <c:showPercent val="0"/>
              <c:showBubbleSize val="0"/>
            </c:dLbl>
            <c:dLbl>
              <c:idx val="11"/>
              <c:tx>
                <c:rich>
                  <a:bodyPr/>
                  <a:lstStyle/>
                  <a:p>
                    <a:r>
                      <a:t>45.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QUATE EASY FIT 5 5 BLADE REFILL NORMAL 4CT</c:v>
                </c:pt>
                <c:pt idx="1">
                  <c:v>EQUATE EASY FIT 5 5 BLADE REFILL NORMAL 12CT</c:v>
                </c:pt>
                <c:pt idx="2">
                  <c:v>EQUATE EASY FIT 5 5 BLADE REFILL NORMAL 8CT</c:v>
                </c:pt>
                <c:pt idx="3">
                  <c:v>GILLETTE FUSION 5 5 BLADE REFILL NORMAL 4CT</c:v>
                </c:pt>
                <c:pt idx="4">
                  <c:v>GILLETTE FUSION 5 5 BLADE REFILL NORMAL 16CT</c:v>
                </c:pt>
                <c:pt idx="5">
                  <c:v>GILLETTE MACH 3 3 BLADE REFILL NORMAL 4CT</c:v>
                </c:pt>
                <c:pt idx="6">
                  <c:v>GILLETTE FUSION 5 5 BLADE REFILL NORMAL 8CT</c:v>
                </c:pt>
                <c:pt idx="7">
                  <c:v>GILLETTE FUSION 5 5 BLADE REFILL NORMAL 12CT</c:v>
                </c:pt>
                <c:pt idx="8">
                  <c:v>HARRY'S 5 BLADE REFILL NORMAL 4CT</c:v>
                </c:pt>
                <c:pt idx="9">
                  <c:v>HARRY'S 5 BLADE REFILL NORMAL 8CT</c:v>
                </c:pt>
                <c:pt idx="10">
                  <c:v>HARRY'S 5 BLADE REFILL NORMAL 12CT</c:v>
                </c:pt>
                <c:pt idx="11">
                  <c:v>PHILIPS NORELCO ONE BLADE 1 BLADE REFILL NORMAL 5CT</c:v>
                </c:pt>
              </c:strCache>
            </c:strRef>
          </c:cat>
          <c:val>
            <c:numRef>
              <c:f>Sheet1!$B$2:$B$13</c:f>
              <c:numCache>
                <c:formatCode>General</c:formatCode>
                <c:ptCount val="12"/>
                <c:pt idx="0">
                  <c:v>8.96</c:v>
                </c:pt>
                <c:pt idx="1">
                  <c:v>20.0</c:v>
                </c:pt>
                <c:pt idx="2">
                  <c:v>15.87</c:v>
                </c:pt>
                <c:pt idx="3">
                  <c:v>19.45</c:v>
                </c:pt>
                <c:pt idx="4">
                  <c:v>42.25</c:v>
                </c:pt>
                <c:pt idx="5">
                  <c:v>13.06</c:v>
                </c:pt>
                <c:pt idx="6">
                  <c:v>32.12</c:v>
                </c:pt>
                <c:pt idx="7">
                  <c:v>42.09</c:v>
                </c:pt>
                <c:pt idx="8">
                  <c:v>10.19</c:v>
                </c:pt>
                <c:pt idx="9">
                  <c:v>17.2</c:v>
                </c:pt>
                <c:pt idx="10">
                  <c:v>24.64</c:v>
                </c:pt>
                <c:pt idx="11">
                  <c:v>45.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19.45</a:t>
                    </a:r>
                  </a:p>
                </c:rich>
              </c:tx>
              <c:showLegendKey val="0"/>
              <c:showVal val="1"/>
              <c:showCatName val="0"/>
              <c:showSerName val="0"/>
              <c:showPercent val="0"/>
              <c:showBubbleSize val="0"/>
            </c:dLbl>
            <c:dLbl>
              <c:idx val="2"/>
              <c:tx>
                <c:rich>
                  <a:bodyPr/>
                  <a:lstStyle/>
                  <a:p>
                    <a:r>
                      <a:t>42.25</a:t>
                    </a:r>
                  </a:p>
                </c:rich>
              </c:tx>
              <c:showLegendKey val="0"/>
              <c:showVal val="1"/>
              <c:showCatName val="0"/>
              <c:showSerName val="0"/>
              <c:showPercent val="0"/>
              <c:showBubbleSize val="0"/>
            </c:dLbl>
            <c:dLbl>
              <c:idx val="3"/>
              <c:tx>
                <c:rich>
                  <a:bodyPr/>
                  <a:lstStyle/>
                  <a:p>
                    <a:r>
                      <a:t>13.06</a:t>
                    </a:r>
                  </a:p>
                </c:rich>
              </c:tx>
              <c:showLegendKey val="0"/>
              <c:showVal val="1"/>
              <c:showCatName val="0"/>
              <c:showSerName val="0"/>
              <c:showPercent val="0"/>
              <c:showBubbleSize val="0"/>
            </c:dLbl>
            <c:dLbl>
              <c:idx val="4"/>
              <c:tx>
                <c:rich>
                  <a:bodyPr/>
                  <a:lstStyle/>
                  <a:p>
                    <a:r>
                      <a:t>32.12</a:t>
                    </a:r>
                  </a:p>
                </c:rich>
              </c:tx>
              <c:showLegendKey val="0"/>
              <c:showVal val="1"/>
              <c:showCatName val="0"/>
              <c:showSerName val="0"/>
              <c:showPercent val="0"/>
              <c:showBubbleSize val="0"/>
            </c:dLbl>
            <c:dLbl>
              <c:idx val="5"/>
              <c:tx>
                <c:rich>
                  <a:bodyPr/>
                  <a:lstStyle/>
                  <a:p>
                    <a:r>
                      <a:t>42.09</a:t>
                    </a:r>
                  </a:p>
                </c:rich>
              </c:tx>
              <c:showLegendKey val="0"/>
              <c:showVal val="1"/>
              <c:showCatName val="0"/>
              <c:showSerName val="0"/>
              <c:showPercent val="0"/>
              <c:showBubbleSize val="0"/>
            </c:dLbl>
            <c:dLbl>
              <c:idx val="6"/>
              <c:tx>
                <c:rich>
                  <a:bodyPr/>
                  <a:lstStyle/>
                  <a:p>
                    <a:r>
                      <a:t>10.19</a:t>
                    </a:r>
                  </a:p>
                </c:rich>
              </c:tx>
              <c:showLegendKey val="0"/>
              <c:showVal val="1"/>
              <c:showCatName val="0"/>
              <c:showSerName val="0"/>
              <c:showPercent val="0"/>
              <c:showBubbleSize val="0"/>
            </c:dLbl>
            <c:dLbl>
              <c:idx val="7"/>
              <c:tx>
                <c:rich>
                  <a:bodyPr/>
                  <a:lstStyle/>
                  <a:p>
                    <a:r>
                      <a:t>17.2</a:t>
                    </a:r>
                  </a:p>
                </c:rich>
              </c:tx>
              <c:showLegendKey val="0"/>
              <c:showVal val="1"/>
              <c:showCatName val="0"/>
              <c:showSerName val="0"/>
              <c:showPercent val="0"/>
              <c:showBubbleSize val="0"/>
            </c:dLbl>
            <c:dLbl>
              <c:idx val="8"/>
              <c:tx>
                <c:rich>
                  <a:bodyPr/>
                  <a:lstStyle/>
                  <a:p>
                    <a:r>
                      <a:t>24.64</a:t>
                    </a:r>
                  </a:p>
                </c:rich>
              </c:tx>
              <c:showLegendKey val="0"/>
              <c:showVal val="1"/>
              <c:showCatName val="0"/>
              <c:showSerName val="0"/>
              <c:showPercent val="0"/>
              <c:showBubbleSize val="0"/>
            </c:dLbl>
            <c:dLbl>
              <c:idx val="9"/>
              <c:tx>
                <c:rich>
                  <a:bodyPr/>
                  <a:lstStyle/>
                  <a:p>
                    <a:r>
                      <a:t>45.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REMO 5 BLADE REFILL NORMAL 4CT</c:v>
                </c:pt>
                <c:pt idx="1">
                  <c:v>GILLETTE FUSION 5 5 BLADE REFILL NORMAL 4CT</c:v>
                </c:pt>
                <c:pt idx="2">
                  <c:v>GILLETTE FUSION 5 5 BLADE REFILL NORMAL 16CT</c:v>
                </c:pt>
                <c:pt idx="3">
                  <c:v>GILLETTE MACH 3 3 BLADE REFILL NORMAL 4CT</c:v>
                </c:pt>
                <c:pt idx="4">
                  <c:v>GILLETTE FUSION 5 5 BLADE REFILL NORMAL 8CT</c:v>
                </c:pt>
                <c:pt idx="5">
                  <c:v>GILLETTE FUSION 5 5 BLADE REFILL NORMAL 12CT</c:v>
                </c:pt>
                <c:pt idx="6">
                  <c:v>HARRY'S 5 BLADE REFILL NORMAL 4CT</c:v>
                </c:pt>
                <c:pt idx="7">
                  <c:v>HARRY'S 5 BLADE REFILL NORMAL 8CT</c:v>
                </c:pt>
                <c:pt idx="8">
                  <c:v>HARRY'S 5 BLADE REFILL NORMAL 12CT</c:v>
                </c:pt>
                <c:pt idx="9">
                  <c:v>PHILIPS NORELCO ONE BLADE 1 BLADE REFILL NORMAL 5CT</c:v>
                </c:pt>
              </c:strCache>
            </c:strRef>
          </c:cat>
          <c:val>
            <c:numRef>
              <c:f>Sheet1!$B$2:$B$11</c:f>
              <c:numCache>
                <c:formatCode>General</c:formatCode>
                <c:ptCount val="10"/>
                <c:pt idx="0">
                  <c:v>13.9</c:v>
                </c:pt>
                <c:pt idx="1">
                  <c:v>19.45</c:v>
                </c:pt>
                <c:pt idx="2">
                  <c:v>42.25</c:v>
                </c:pt>
                <c:pt idx="3">
                  <c:v>13.06</c:v>
                </c:pt>
                <c:pt idx="4">
                  <c:v>32.12</c:v>
                </c:pt>
                <c:pt idx="5">
                  <c:v>42.09</c:v>
                </c:pt>
                <c:pt idx="6">
                  <c:v>10.19</c:v>
                </c:pt>
                <c:pt idx="7">
                  <c:v>17.2</c:v>
                </c:pt>
                <c:pt idx="8">
                  <c:v>24.64</c:v>
                </c:pt>
                <c:pt idx="9">
                  <c:v>45.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2</a:t>
                    </a:r>
                  </a:p>
                </c:rich>
              </c:tx>
              <c:dLblPos val="t"/>
              <c:showLegendKey val="0"/>
              <c:showVal val="1"/>
              <c:showCatName val="0"/>
              <c:showSerName val="0"/>
              <c:showPercent val="0"/>
              <c:showBubbleSize val="0"/>
            </c:dLbl>
            <c:dLbl>
              <c:idx val="1"/>
              <c:tx>
                <c:rich>
                  <a:bodyPr/>
                  <a:lstStyle/>
                  <a:p>
                    <a:r>
                      <a:t>22.86</a:t>
                    </a:r>
                  </a:p>
                </c:rich>
              </c:tx>
              <c:dLblPos val="t"/>
              <c:showLegendKey val="0"/>
              <c:showVal val="1"/>
              <c:showCatName val="0"/>
              <c:showSerName val="0"/>
              <c:showPercent val="0"/>
              <c:showBubbleSize val="0"/>
            </c:dLbl>
            <c:dLbl>
              <c:idx val="2"/>
              <c:tx>
                <c:rich>
                  <a:bodyPr/>
                  <a:lstStyle/>
                  <a:p>
                    <a:r>
                      <a:t>25.21</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2</c:v>
                </c:pt>
                <c:pt idx="1">
                  <c:v>22.86</c:v>
                </c:pt>
                <c:pt idx="2">
                  <c:v>25.21</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26.51</a:t>
                    </a:r>
                  </a:p>
                </c:rich>
              </c:tx>
              <c:showLegendKey val="0"/>
              <c:showVal val="1"/>
              <c:showCatName val="0"/>
              <c:showSerName val="0"/>
              <c:showPercent val="0"/>
              <c:showBubbleSize val="0"/>
            </c:dLbl>
            <c:dLbl>
              <c:idx val="2"/>
              <c:tx>
                <c:rich>
                  <a:bodyPr/>
                  <a:lstStyle/>
                  <a:p>
                    <a:r>
                      <a:t>9.53</a:t>
                    </a:r>
                  </a:p>
                </c:rich>
              </c:tx>
              <c:showLegendKey val="0"/>
              <c:showVal val="1"/>
              <c:showCatName val="0"/>
              <c:showSerName val="0"/>
              <c:showPercent val="0"/>
              <c:showBubbleSize val="0"/>
            </c:dLbl>
            <c:dLbl>
              <c:idx val="3"/>
              <c:tx>
                <c:rich>
                  <a:bodyPr/>
                  <a:lstStyle/>
                  <a:p>
                    <a:r>
                      <a:t>18.42</a:t>
                    </a:r>
                  </a:p>
                </c:rich>
              </c:tx>
              <c:showLegendKey val="0"/>
              <c:showVal val="1"/>
              <c:showCatName val="0"/>
              <c:showSerName val="0"/>
              <c:showPercent val="0"/>
              <c:showBubbleSize val="0"/>
            </c:dLbl>
            <c:dLbl>
              <c:idx val="4"/>
              <c:tx>
                <c:rich>
                  <a:bodyPr/>
                  <a:lstStyle/>
                  <a:p>
                    <a:r>
                      <a:t>12.46</a:t>
                    </a:r>
                  </a:p>
                </c:rich>
              </c:tx>
              <c:showLegendKey val="0"/>
              <c:showVal val="1"/>
              <c:showCatName val="0"/>
              <c:showSerName val="0"/>
              <c:showPercent val="0"/>
              <c:showBubbleSize val="0"/>
            </c:dLbl>
            <c:dLbl>
              <c:idx val="5"/>
              <c:tx>
                <c:rich>
                  <a:bodyPr/>
                  <a:lstStyle/>
                  <a:p>
                    <a:r>
                      <a:t>40.1</a:t>
                    </a:r>
                  </a:p>
                </c:rich>
              </c:tx>
              <c:showLegendKey val="0"/>
              <c:showVal val="1"/>
              <c:showCatName val="0"/>
              <c:showSerName val="0"/>
              <c:showPercent val="0"/>
              <c:showBubbleSize val="0"/>
            </c:dLbl>
            <c:dLbl>
              <c:idx val="6"/>
              <c:tx>
                <c:rich>
                  <a:bodyPr/>
                  <a:lstStyle/>
                  <a:p>
                    <a:r>
                      <a:t>29.97</a:t>
                    </a:r>
                  </a:p>
                </c:rich>
              </c:tx>
              <c:showLegendKey val="0"/>
              <c:showVal val="1"/>
              <c:showCatName val="0"/>
              <c:showSerName val="0"/>
              <c:showPercent val="0"/>
              <c:showBubbleSize val="0"/>
            </c:dLbl>
            <c:dLbl>
              <c:idx val="7"/>
              <c:tx>
                <c:rich>
                  <a:bodyPr/>
                  <a:lstStyle/>
                  <a:p>
                    <a:r>
                      <a:t>22.46</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16.96</a:t>
                    </a:r>
                  </a:p>
                </c:rich>
              </c:tx>
              <c:showLegendKey val="0"/>
              <c:showVal val="1"/>
              <c:showCatName val="0"/>
              <c:showSerName val="0"/>
              <c:showPercent val="0"/>
              <c:showBubbleSize val="0"/>
            </c:dLbl>
            <c:dLbl>
              <c:idx val="10"/>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YDRO 5 SENSITIVE 5 BLADE REFILL SENSITIVE 6CT</c:v>
                </c:pt>
                <c:pt idx="1">
                  <c:v>HYDRO 5 SENSITIVE 5 BLADE REFILL SENSITIVE 12CT</c:v>
                </c:pt>
                <c:pt idx="2">
                  <c:v>SCHICK HYDRO 3 SENSITIVE 3 BLADE REFILL SENSITIVE 5CT</c:v>
                </c:pt>
                <c:pt idx="3">
                  <c:v>GILLETTE FUSION 5 5 BLADE REFILL NORMAL 4CT</c:v>
                </c:pt>
                <c:pt idx="4">
                  <c:v>GILLETTE MACH 3 3 BLADE REFILL NORMAL 4CT</c:v>
                </c:pt>
                <c:pt idx="5">
                  <c:v>GILLETTE FUSION 5 5 BLADE REFILL NORMAL 12CT</c:v>
                </c:pt>
                <c:pt idx="6">
                  <c:v>GILLETTE FUSION 5 5 BLADE REFILL NORMAL 8CT</c:v>
                </c:pt>
                <c:pt idx="7">
                  <c:v>GILLETTE MACH 3 3 BLADE REFILL NORMAL 8CT</c:v>
                </c:pt>
                <c:pt idx="8">
                  <c:v>HARRY'S 5 BLADE REFILL NORMAL 4CT</c:v>
                </c:pt>
                <c:pt idx="9">
                  <c:v>HARRY'S 5 BLADE REFILL NORMAL 8CT</c:v>
                </c:pt>
                <c:pt idx="10">
                  <c:v>HARRY'S 5 BLADE REFILL NORMAL 12CT</c:v>
                </c:pt>
              </c:strCache>
            </c:strRef>
          </c:cat>
          <c:val>
            <c:numRef>
              <c:f>Sheet1!$B$2:$B$12</c:f>
              <c:numCache>
                <c:formatCode>General</c:formatCode>
                <c:ptCount val="11"/>
                <c:pt idx="0">
                  <c:v>14.73</c:v>
                </c:pt>
                <c:pt idx="1">
                  <c:v>26.51</c:v>
                </c:pt>
                <c:pt idx="2">
                  <c:v>9.53</c:v>
                </c:pt>
                <c:pt idx="3">
                  <c:v>18.42</c:v>
                </c:pt>
                <c:pt idx="4">
                  <c:v>12.46</c:v>
                </c:pt>
                <c:pt idx="5">
                  <c:v>40.1</c:v>
                </c:pt>
                <c:pt idx="6">
                  <c:v>29.97</c:v>
                </c:pt>
                <c:pt idx="7">
                  <c:v>22.46</c:v>
                </c:pt>
                <c:pt idx="8">
                  <c:v>9.97</c:v>
                </c:pt>
                <c:pt idx="9">
                  <c:v>16.96</c:v>
                </c:pt>
                <c:pt idx="10">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15.85</a:t>
                    </a:r>
                  </a:p>
                </c:rich>
              </c:tx>
              <c:showLegendKey val="0"/>
              <c:showVal val="1"/>
              <c:showCatName val="0"/>
              <c:showSerName val="0"/>
              <c:showPercent val="0"/>
              <c:showBubbleSize val="0"/>
            </c:dLbl>
            <c:dLbl>
              <c:idx val="3"/>
              <c:tx>
                <c:rich>
                  <a:bodyPr/>
                  <a:lstStyle/>
                  <a:p>
                    <a:r>
                      <a:t>18.42</a:t>
                    </a:r>
                  </a:p>
                </c:rich>
              </c:tx>
              <c:showLegendKey val="0"/>
              <c:showVal val="1"/>
              <c:showCatName val="0"/>
              <c:showSerName val="0"/>
              <c:showPercent val="0"/>
              <c:showBubbleSize val="0"/>
            </c:dLbl>
            <c:dLbl>
              <c:idx val="4"/>
              <c:tx>
                <c:rich>
                  <a:bodyPr/>
                  <a:lstStyle/>
                  <a:p>
                    <a:r>
                      <a:t>12.46</a:t>
                    </a:r>
                  </a:p>
                </c:rich>
              </c:tx>
              <c:showLegendKey val="0"/>
              <c:showVal val="1"/>
              <c:showCatName val="0"/>
              <c:showSerName val="0"/>
              <c:showPercent val="0"/>
              <c:showBubbleSize val="0"/>
            </c:dLbl>
            <c:dLbl>
              <c:idx val="5"/>
              <c:tx>
                <c:rich>
                  <a:bodyPr/>
                  <a:lstStyle/>
                  <a:p>
                    <a:r>
                      <a:t>40.1</a:t>
                    </a:r>
                  </a:p>
                </c:rich>
              </c:tx>
              <c:showLegendKey val="0"/>
              <c:showVal val="1"/>
              <c:showCatName val="0"/>
              <c:showSerName val="0"/>
              <c:showPercent val="0"/>
              <c:showBubbleSize val="0"/>
            </c:dLbl>
            <c:dLbl>
              <c:idx val="6"/>
              <c:tx>
                <c:rich>
                  <a:bodyPr/>
                  <a:lstStyle/>
                  <a:p>
                    <a:r>
                      <a:t>29.97</a:t>
                    </a:r>
                  </a:p>
                </c:rich>
              </c:tx>
              <c:showLegendKey val="0"/>
              <c:showVal val="1"/>
              <c:showCatName val="0"/>
              <c:showSerName val="0"/>
              <c:showPercent val="0"/>
              <c:showBubbleSize val="0"/>
            </c:dLbl>
            <c:dLbl>
              <c:idx val="7"/>
              <c:tx>
                <c:rich>
                  <a:bodyPr/>
                  <a:lstStyle/>
                  <a:p>
                    <a:r>
                      <a:t>22.46</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16.96</a:t>
                    </a:r>
                  </a:p>
                </c:rich>
              </c:tx>
              <c:showLegendKey val="0"/>
              <c:showVal val="1"/>
              <c:showCatName val="0"/>
              <c:showSerName val="0"/>
              <c:showPercent val="0"/>
              <c:showBubbleSize val="0"/>
            </c:dLbl>
            <c:dLbl>
              <c:idx val="10"/>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QUATE EASY FIT 5 5 BLADE REFILL NORMAL 4CT</c:v>
                </c:pt>
                <c:pt idx="1">
                  <c:v>EQUATE EASY FIT 5 5 BLADE REFILL NORMAL 12CT</c:v>
                </c:pt>
                <c:pt idx="2">
                  <c:v>EQUATE EASY FIT 5 5 BLADE REFILL NORMAL 8CT</c:v>
                </c:pt>
                <c:pt idx="3">
                  <c:v>GILLETTE FUSION 5 5 BLADE REFILL NORMAL 4CT</c:v>
                </c:pt>
                <c:pt idx="4">
                  <c:v>GILLETTE MACH 3 3 BLADE REFILL NORMAL 4CT</c:v>
                </c:pt>
                <c:pt idx="5">
                  <c:v>GILLETTE FUSION 5 5 BLADE REFILL NORMAL 12CT</c:v>
                </c:pt>
                <c:pt idx="6">
                  <c:v>GILLETTE FUSION 5 5 BLADE REFILL NORMAL 8CT</c:v>
                </c:pt>
                <c:pt idx="7">
                  <c:v>GILLETTE MACH 3 3 BLADE REFILL NORMAL 8CT</c:v>
                </c:pt>
                <c:pt idx="8">
                  <c:v>HARRY'S 5 BLADE REFILL NORMAL 4CT</c:v>
                </c:pt>
                <c:pt idx="9">
                  <c:v>HARRY'S 5 BLADE REFILL NORMAL 8CT</c:v>
                </c:pt>
                <c:pt idx="10">
                  <c:v>HARRY'S 5 BLADE REFILL NORMAL 12CT</c:v>
                </c:pt>
              </c:strCache>
            </c:strRef>
          </c:cat>
          <c:val>
            <c:numRef>
              <c:f>Sheet1!$B$2:$B$12</c:f>
              <c:numCache>
                <c:formatCode>General</c:formatCode>
                <c:ptCount val="11"/>
                <c:pt idx="0">
                  <c:v>8.96</c:v>
                </c:pt>
                <c:pt idx="1">
                  <c:v>20.0</c:v>
                </c:pt>
                <c:pt idx="2">
                  <c:v>15.85</c:v>
                </c:pt>
                <c:pt idx="3">
                  <c:v>18.42</c:v>
                </c:pt>
                <c:pt idx="4">
                  <c:v>12.46</c:v>
                </c:pt>
                <c:pt idx="5">
                  <c:v>40.1</c:v>
                </c:pt>
                <c:pt idx="6">
                  <c:v>29.97</c:v>
                </c:pt>
                <c:pt idx="7">
                  <c:v>22.46</c:v>
                </c:pt>
                <c:pt idx="8">
                  <c:v>9.97</c:v>
                </c:pt>
                <c:pt idx="9">
                  <c:v>16.96</c:v>
                </c:pt>
                <c:pt idx="10">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9</a:t>
                    </a:r>
                  </a:p>
                </c:rich>
              </c:tx>
              <c:showLegendKey val="0"/>
              <c:showVal val="1"/>
              <c:showCatName val="0"/>
              <c:showSerName val="0"/>
              <c:showPercent val="0"/>
              <c:showBubbleSize val="0"/>
            </c:dLbl>
            <c:dLbl>
              <c:idx val="1"/>
              <c:tx>
                <c:rich>
                  <a:bodyPr/>
                  <a:lstStyle/>
                  <a:p>
                    <a:r>
                      <a:t>18.42</a:t>
                    </a:r>
                  </a:p>
                </c:rich>
              </c:tx>
              <c:showLegendKey val="0"/>
              <c:showVal val="1"/>
              <c:showCatName val="0"/>
              <c:showSerName val="0"/>
              <c:showPercent val="0"/>
              <c:showBubbleSize val="0"/>
            </c:dLbl>
            <c:dLbl>
              <c:idx val="2"/>
              <c:tx>
                <c:rich>
                  <a:bodyPr/>
                  <a:lstStyle/>
                  <a:p>
                    <a:r>
                      <a:t>12.46</a:t>
                    </a:r>
                  </a:p>
                </c:rich>
              </c:tx>
              <c:showLegendKey val="0"/>
              <c:showVal val="1"/>
              <c:showCatName val="0"/>
              <c:showSerName val="0"/>
              <c:showPercent val="0"/>
              <c:showBubbleSize val="0"/>
            </c:dLbl>
            <c:dLbl>
              <c:idx val="3"/>
              <c:tx>
                <c:rich>
                  <a:bodyPr/>
                  <a:lstStyle/>
                  <a:p>
                    <a:r>
                      <a:t>40.1</a:t>
                    </a:r>
                  </a:p>
                </c:rich>
              </c:tx>
              <c:showLegendKey val="0"/>
              <c:showVal val="1"/>
              <c:showCatName val="0"/>
              <c:showSerName val="0"/>
              <c:showPercent val="0"/>
              <c:showBubbleSize val="0"/>
            </c:dLbl>
            <c:dLbl>
              <c:idx val="4"/>
              <c:tx>
                <c:rich>
                  <a:bodyPr/>
                  <a:lstStyle/>
                  <a:p>
                    <a:r>
                      <a:t>29.97</a:t>
                    </a:r>
                  </a:p>
                </c:rich>
              </c:tx>
              <c:showLegendKey val="0"/>
              <c:showVal val="1"/>
              <c:showCatName val="0"/>
              <c:showSerName val="0"/>
              <c:showPercent val="0"/>
              <c:showBubbleSize val="0"/>
            </c:dLbl>
            <c:dLbl>
              <c:idx val="5"/>
              <c:tx>
                <c:rich>
                  <a:bodyPr/>
                  <a:lstStyle/>
                  <a:p>
                    <a:r>
                      <a:t>22.46</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6.96</a:t>
                    </a:r>
                  </a:p>
                </c:rich>
              </c:tx>
              <c:showLegendKey val="0"/>
              <c:showVal val="1"/>
              <c:showCatName val="0"/>
              <c:showSerName val="0"/>
              <c:showPercent val="0"/>
              <c:showBubbleSize val="0"/>
            </c:dLbl>
            <c:dLbl>
              <c:idx val="8"/>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REMO 5 BLADE REFILL NORMAL 4CT</c:v>
                </c:pt>
                <c:pt idx="1">
                  <c:v>GILLETTE FUSION 5 5 BLADE REFILL NORMAL 4CT</c:v>
                </c:pt>
                <c:pt idx="2">
                  <c:v>GILLETTE MACH 3 3 BLADE REFILL NORMAL 4CT</c:v>
                </c:pt>
                <c:pt idx="3">
                  <c:v>GILLETTE FUSION 5 5 BLADE REFILL NORMAL 12CT</c:v>
                </c:pt>
                <c:pt idx="4">
                  <c:v>GILLETTE FUSION 5 5 BLADE REFILL NORMAL 8CT</c:v>
                </c:pt>
                <c:pt idx="5">
                  <c:v>GILLETTE MACH 3 3 BLADE REFILL NORMAL 8CT</c:v>
                </c:pt>
                <c:pt idx="6">
                  <c:v>HARRY'S 5 BLADE REFILL NORMAL 4CT</c:v>
                </c:pt>
                <c:pt idx="7">
                  <c:v>HARRY'S 5 BLADE REFILL NORMAL 8CT</c:v>
                </c:pt>
                <c:pt idx="8">
                  <c:v>HARRY'S 5 BLADE REFILL NORMAL 12CT</c:v>
                </c:pt>
              </c:strCache>
            </c:strRef>
          </c:cat>
          <c:val>
            <c:numRef>
              <c:f>Sheet1!$B$2:$B$10</c:f>
              <c:numCache>
                <c:formatCode>General</c:formatCode>
                <c:ptCount val="9"/>
                <c:pt idx="0">
                  <c:v>14.99</c:v>
                </c:pt>
                <c:pt idx="1">
                  <c:v>18.42</c:v>
                </c:pt>
                <c:pt idx="2">
                  <c:v>12.46</c:v>
                </c:pt>
                <c:pt idx="3">
                  <c:v>40.1</c:v>
                </c:pt>
                <c:pt idx="4">
                  <c:v>29.97</c:v>
                </c:pt>
                <c:pt idx="5">
                  <c:v>22.46</c:v>
                </c:pt>
                <c:pt idx="6">
                  <c:v>9.97</c:v>
                </c:pt>
                <c:pt idx="7">
                  <c:v>16.96</c:v>
                </c:pt>
                <c:pt idx="8">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B$2:$B$9</c:f>
              <c:numCache>
                <c:formatCode>General</c:formatCode>
                <c:ptCount val="8"/>
                <c:pt idx="0">
                  <c:v>12.5455</c:v>
                </c:pt>
                <c:pt idx="1">
                  <c:v>3.0</c:v>
                </c:pt>
                <c:pt idx="3">
                  <c:v>13.6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C$2:$C$9</c:f>
              <c:numCache>
                <c:formatCode>General</c:formatCode>
                <c:ptCount val="8"/>
                <c:pt idx="0">
                  <c:v>11.394</c:v>
                </c:pt>
                <c:pt idx="1">
                  <c:v>2.5255</c:v>
                </c:pt>
                <c:pt idx="3">
                  <c:v>21.6611</c:v>
                </c:pt>
                <c:pt idx="4">
                  <c:v>24.3256</c:v>
                </c:pt>
                <c:pt idx="5">
                  <c:v>4.58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D$2:$D$9</c:f>
              <c:numCache>
                <c:formatCode>General</c:formatCode>
                <c:ptCount val="8"/>
                <c:pt idx="3">
                  <c:v>41.5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E$2:$E$9</c:f>
              <c:numCache>
                <c:formatCode>General</c:formatCode>
                <c:ptCount val="8"/>
                <c:pt idx="1">
                  <c:v>18.5</c:v>
                </c:pt>
                <c:pt idx="3">
                  <c:v>27.73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F$2:$F$9</c:f>
              <c:numCache>
                <c:formatCode>General</c:formatCode>
                <c:ptCount val="8"/>
                <c:pt idx="0">
                  <c:v>27.5854</c:v>
                </c:pt>
                <c:pt idx="3">
                  <c:v>39.3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G$2:$G$9</c:f>
              <c:numCache>
                <c:formatCode>General</c:formatCode>
                <c:ptCount val="8"/>
                <c:pt idx="0">
                  <c:v>36.94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H$2:$H$9</c:f>
              <c:numCache>
                <c:formatCode>General</c:formatCode>
                <c:ptCount val="8"/>
                <c:pt idx="3">
                  <c:v>14.895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I$2:$I$9</c:f>
              <c:numCache>
                <c:formatCode>General</c:formatCode>
                <c:ptCount val="8"/>
                <c:pt idx="0">
                  <c:v>3.0852</c:v>
                </c:pt>
                <c:pt idx="1">
                  <c:v>4.0</c:v>
                </c:pt>
                <c:pt idx="3">
                  <c:v>12.435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J$2:$J$9</c:f>
              <c:numCache>
                <c:formatCode>General</c:formatCode>
                <c:ptCount val="8"/>
                <c:pt idx="0">
                  <c:v>18.1866</c:v>
                </c:pt>
                <c:pt idx="3">
                  <c:v>36.732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1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K$2:$K$9</c:f>
              <c:numCache>
                <c:formatCode>General</c:formatCode>
                <c:ptCount val="8"/>
                <c:pt idx="3">
                  <c:v>20.530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L$2:$L$9</c:f>
              <c:numCache>
                <c:formatCode>General</c:formatCode>
                <c:ptCount val="8"/>
                <c:pt idx="0">
                  <c:v>21.717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M$2:$M$9</c:f>
              <c:numCache>
                <c:formatCode>General</c:formatCode>
                <c:ptCount val="8"/>
                <c:pt idx="0">
                  <c:v>5.2695</c:v>
                </c:pt>
                <c:pt idx="1">
                  <c:v>8.3619</c:v>
                </c:pt>
                <c:pt idx="2">
                  <c:v>14.3525</c:v>
                </c:pt>
                <c:pt idx="3">
                  <c:v>12.6982</c:v>
                </c:pt>
                <c:pt idx="4">
                  <c:v>10.8144</c:v>
                </c:pt>
                <c:pt idx="5">
                  <c:v>6.1608</c:v>
                </c:pt>
                <c:pt idx="7">
                  <c:v>9.103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N$2:$N$9</c:f>
              <c:numCache>
                <c:formatCode>General</c:formatCode>
                <c:ptCount val="8"/>
                <c:pt idx="0">
                  <c:v>9.9464</c:v>
                </c:pt>
                <c:pt idx="1">
                  <c:v>5.0496</c:v>
                </c:pt>
                <c:pt idx="2">
                  <c:v>9.6875</c:v>
                </c:pt>
                <c:pt idx="3">
                  <c:v>7.3722</c:v>
                </c:pt>
                <c:pt idx="5">
                  <c:v>6.58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O$2:$O$9</c:f>
              <c:numCache>
                <c:formatCode>General</c:formatCode>
                <c:ptCount val="8"/>
                <c:pt idx="0">
                  <c:v>7.5893</c:v>
                </c:pt>
                <c:pt idx="1">
                  <c:v>5.7777</c:v>
                </c:pt>
                <c:pt idx="2">
                  <c:v>12.7214</c:v>
                </c:pt>
                <c:pt idx="3">
                  <c:v>14.763</c:v>
                </c:pt>
                <c:pt idx="4">
                  <c:v>9.7866</c:v>
                </c:pt>
                <c:pt idx="5">
                  <c:v>6.4199</c:v>
                </c:pt>
                <c:pt idx="6">
                  <c:v>4.9328</c:v>
                </c:pt>
                <c:pt idx="7">
                  <c:v>8.9963</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52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P$2:$P$9</c:f>
              <c:numCache>
                <c:formatCode>General</c:formatCode>
                <c:ptCount val="8"/>
                <c:pt idx="3">
                  <c:v>31.264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Q$2:$Q$9</c:f>
              <c:numCache>
                <c:formatCode>General</c:formatCode>
                <c:ptCount val="8"/>
                <c:pt idx="0">
                  <c:v>12.5425</c:v>
                </c:pt>
                <c:pt idx="1">
                  <c:v>1.0016</c:v>
                </c:pt>
                <c:pt idx="2">
                  <c:v>9.5861</c:v>
                </c:pt>
                <c:pt idx="3">
                  <c:v>19.235</c:v>
                </c:pt>
                <c:pt idx="4">
                  <c:v>16.7757</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R$2:$R$9</c:f>
              <c:numCache>
                <c:formatCode>General</c:formatCode>
                <c:ptCount val="8"/>
                <c:pt idx="0">
                  <c:v>15.1917</c:v>
                </c:pt>
                <c:pt idx="3">
                  <c:v>20.0851</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S$2:$S$9</c:f>
              <c:numCache>
                <c:formatCode>General</c:formatCode>
                <c:ptCount val="8"/>
                <c:pt idx="0">
                  <c:v>5.4197</c:v>
                </c:pt>
                <c:pt idx="3">
                  <c:v>17.24</c:v>
                </c:pt>
                <c:pt idx="5">
                  <c:v>12.2375</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T$2:$T$9</c:f>
              <c:numCache>
                <c:formatCode>General</c:formatCode>
                <c:ptCount val="8"/>
                <c:pt idx="0">
                  <c:v>11.5114</c:v>
                </c:pt>
                <c:pt idx="1">
                  <c:v>7.8007</c:v>
                </c:pt>
                <c:pt idx="3">
                  <c:v>25.2503</c:v>
                </c:pt>
                <c:pt idx="4">
                  <c:v>16.7352</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U$2:$U$9</c:f>
              <c:numCache>
                <c:formatCode>General</c:formatCode>
                <c:ptCount val="8"/>
                <c:pt idx="0">
                  <c:v>21.2495</c:v>
                </c:pt>
                <c:pt idx="3">
                  <c:v>28.668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Cremo</c:v>
                </c:pt>
                <c:pt idx="2">
                  <c:v>Gillette</c:v>
                </c:pt>
                <c:pt idx="3">
                  <c:v>Harry's</c:v>
                </c:pt>
                <c:pt idx="4">
                  <c:v>Bic</c:v>
                </c:pt>
              </c:strCache>
            </c:strRef>
          </c:cat>
          <c:val>
            <c:numRef>
              <c:f>Sheet1!$B$2:$B$6</c:f>
              <c:numCache>
                <c:formatCode>General</c:formatCode>
                <c:ptCount val="5"/>
                <c:pt idx="3">
                  <c:v>23.1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Cremo</c:v>
                </c:pt>
                <c:pt idx="2">
                  <c:v>Gillette</c:v>
                </c:pt>
                <c:pt idx="3">
                  <c:v>Harry's</c:v>
                </c:pt>
                <c:pt idx="4">
                  <c:v>Bic</c:v>
                </c:pt>
              </c:strCache>
            </c:strRef>
          </c:cat>
          <c:val>
            <c:numRef>
              <c:f>Sheet1!$C$2:$C$6</c:f>
              <c:numCache>
                <c:formatCode>General</c:formatCode>
                <c:ptCount val="5"/>
                <c:pt idx="2">
                  <c:v>41.467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Cremo</c:v>
                </c:pt>
                <c:pt idx="2">
                  <c:v>Gillette</c:v>
                </c:pt>
                <c:pt idx="3">
                  <c:v>Harry's</c:v>
                </c:pt>
                <c:pt idx="4">
                  <c:v>Bic</c:v>
                </c:pt>
              </c:strCache>
            </c:strRef>
          </c:cat>
          <c:val>
            <c:numRef>
              <c:f>Sheet1!$D$2:$D$6</c:f>
              <c:numCache>
                <c:formatCode>General</c:formatCode>
                <c:ptCount val="5"/>
                <c:pt idx="2">
                  <c:v>39.50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Cremo</c:v>
                </c:pt>
                <c:pt idx="2">
                  <c:v>Gillette</c:v>
                </c:pt>
                <c:pt idx="3">
                  <c:v>Harry's</c:v>
                </c:pt>
                <c:pt idx="4">
                  <c:v>Bic</c:v>
                </c:pt>
              </c:strCache>
            </c:strRef>
          </c:cat>
          <c:val>
            <c:numRef>
              <c:f>Sheet1!$E$2:$E$6</c:f>
              <c:numCache>
                <c:formatCode>General</c:formatCode>
                <c:ptCount val="5"/>
                <c:pt idx="2">
                  <c:v>39.51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Cremo</c:v>
                </c:pt>
                <c:pt idx="2">
                  <c:v>Gillette</c:v>
                </c:pt>
                <c:pt idx="3">
                  <c:v>Harry's</c:v>
                </c:pt>
                <c:pt idx="4">
                  <c:v>Bic</c:v>
                </c:pt>
              </c:strCache>
            </c:strRef>
          </c:cat>
          <c:val>
            <c:numRef>
              <c:f>Sheet1!$F$2:$F$6</c:f>
              <c:numCache>
                <c:formatCode>General</c:formatCode>
                <c:ptCount val="5"/>
                <c:pt idx="0">
                  <c:v>18.1376</c:v>
                </c:pt>
                <c:pt idx="2">
                  <c:v>37.042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Cremo</c:v>
                </c:pt>
                <c:pt idx="2">
                  <c:v>Gillette</c:v>
                </c:pt>
                <c:pt idx="3">
                  <c:v>Harry's</c:v>
                </c:pt>
                <c:pt idx="4">
                  <c:v>Bic</c:v>
                </c:pt>
              </c:strCache>
            </c:strRef>
          </c:cat>
          <c:val>
            <c:numRef>
              <c:f>Sheet1!$G$2:$G$6</c:f>
              <c:numCache>
                <c:formatCode>General</c:formatCode>
                <c:ptCount val="5"/>
                <c:pt idx="2">
                  <c:v>22.171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Cremo</c:v>
                </c:pt>
                <c:pt idx="2">
                  <c:v>Gillette</c:v>
                </c:pt>
                <c:pt idx="3">
                  <c:v>Harry's</c:v>
                </c:pt>
                <c:pt idx="4">
                  <c:v>Bic</c:v>
                </c:pt>
              </c:strCache>
            </c:strRef>
          </c:cat>
          <c:val>
            <c:numRef>
              <c:f>Sheet1!$H$2:$H$6</c:f>
              <c:numCache>
                <c:formatCode>General</c:formatCode>
                <c:ptCount val="5"/>
                <c:pt idx="0">
                  <c:v>21.752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Cremo</c:v>
                </c:pt>
                <c:pt idx="2">
                  <c:v>Gillette</c:v>
                </c:pt>
                <c:pt idx="3">
                  <c:v>Harry's</c:v>
                </c:pt>
                <c:pt idx="4">
                  <c:v>Bic</c:v>
                </c:pt>
              </c:strCache>
            </c:strRef>
          </c:cat>
          <c:val>
            <c:numRef>
              <c:f>Sheet1!$I$2:$I$6</c:f>
              <c:numCache>
                <c:formatCode>General</c:formatCode>
                <c:ptCount val="5"/>
                <c:pt idx="2">
                  <c:v>31.725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Cremo</c:v>
                </c:pt>
                <c:pt idx="2">
                  <c:v>Gillette</c:v>
                </c:pt>
                <c:pt idx="3">
                  <c:v>Harry's</c:v>
                </c:pt>
                <c:pt idx="4">
                  <c:v>Bic</c:v>
                </c:pt>
              </c:strCache>
            </c:strRef>
          </c:cat>
          <c:val>
            <c:numRef>
              <c:f>Sheet1!$J$2:$J$6</c:f>
              <c:numCache>
                <c:formatCode>General</c:formatCode>
                <c:ptCount val="5"/>
                <c:pt idx="1">
                  <c:v>9.645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9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Cremo</c:v>
                </c:pt>
                <c:pt idx="2">
                  <c:v>Gillette</c:v>
                </c:pt>
                <c:pt idx="3">
                  <c:v>Harry's</c:v>
                </c:pt>
                <c:pt idx="4">
                  <c:v>Bic</c:v>
                </c:pt>
              </c:strCache>
            </c:strRef>
          </c:cat>
          <c:val>
            <c:numRef>
              <c:f>Sheet1!$K$2:$K$6</c:f>
              <c:numCache>
                <c:formatCode>General</c:formatCode>
                <c:ptCount val="5"/>
                <c:pt idx="2">
                  <c:v>28.6354</c:v>
                </c:pt>
                <c:pt idx="4">
                  <c:v>17.7168</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B$2:$B$10</c:f>
              <c:numCache>
                <c:formatCode>General</c:formatCode>
                <c:ptCount val="9"/>
                <c:pt idx="0">
                  <c:v>3.0</c:v>
                </c:pt>
                <c:pt idx="1">
                  <c:v>4.4375</c:v>
                </c:pt>
                <c:pt idx="3">
                  <c:v>11.4547</c:v>
                </c:pt>
                <c:pt idx="5">
                  <c:v>5.8907</c:v>
                </c:pt>
                <c:pt idx="7">
                  <c:v>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C$2:$C$10</c:f>
              <c:numCache>
                <c:formatCode>General</c:formatCode>
                <c:ptCount val="9"/>
                <c:pt idx="0">
                  <c:v>2.5242</c:v>
                </c:pt>
                <c:pt idx="1">
                  <c:v>10.5368</c:v>
                </c:pt>
                <c:pt idx="3">
                  <c:v>18.2025</c:v>
                </c:pt>
                <c:pt idx="4">
                  <c:v>23.9633</c:v>
                </c:pt>
                <c:pt idx="5">
                  <c:v>5.185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D$2:$D$10</c:f>
              <c:numCache>
                <c:formatCode>General</c:formatCode>
                <c:ptCount val="9"/>
                <c:pt idx="0">
                  <c:v>18.5</c:v>
                </c:pt>
                <c:pt idx="3">
                  <c:v>18.413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E$2:$E$10</c:f>
              <c:numCache>
                <c:formatCode>General</c:formatCode>
                <c:ptCount val="9"/>
                <c:pt idx="1">
                  <c:v>15.0</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F$2:$F$10</c:f>
              <c:numCache>
                <c:formatCode>General</c:formatCode>
                <c:ptCount val="9"/>
                <c:pt idx="3">
                  <c:v>14.992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G$2:$G$10</c:f>
              <c:numCache>
                <c:formatCode>General</c:formatCode>
                <c:ptCount val="9"/>
                <c:pt idx="0">
                  <c:v>3.5</c:v>
                </c:pt>
                <c:pt idx="1">
                  <c:v>0.8098</c:v>
                </c:pt>
                <c:pt idx="3">
                  <c:v>14.11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H$2:$H$10</c:f>
              <c:numCache>
                <c:formatCode>General</c:formatCode>
                <c:ptCount val="9"/>
                <c:pt idx="1">
                  <c:v>25.0</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I$2:$I$10</c:f>
              <c:numCache>
                <c:formatCode>General</c:formatCode>
                <c:ptCount val="9"/>
                <c:pt idx="3">
                  <c:v>20.06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J$2:$J$10</c:f>
              <c:numCache>
                <c:formatCode>General</c:formatCode>
                <c:ptCount val="9"/>
                <c:pt idx="3">
                  <c:v>19.960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K$2:$K$10</c:f>
              <c:numCache>
                <c:formatCode>General</c:formatCode>
                <c:ptCount val="9"/>
                <c:pt idx="0">
                  <c:v>8.4007</c:v>
                </c:pt>
                <c:pt idx="1">
                  <c:v>4.3127</c:v>
                </c:pt>
                <c:pt idx="2">
                  <c:v>14.8057</c:v>
                </c:pt>
                <c:pt idx="3">
                  <c:v>12.2647</c:v>
                </c:pt>
                <c:pt idx="4">
                  <c:v>11.0337</c:v>
                </c:pt>
                <c:pt idx="5">
                  <c:v>6.0477</c:v>
                </c:pt>
                <c:pt idx="6">
                  <c:v>8.964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3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L$2:$L$10</c:f>
              <c:numCache>
                <c:formatCode>General</c:formatCode>
                <c:ptCount val="9"/>
                <c:pt idx="0">
                  <c:v>5.0484</c:v>
                </c:pt>
                <c:pt idx="1">
                  <c:v>9.59</c:v>
                </c:pt>
                <c:pt idx="3">
                  <c:v>7.3235</c:v>
                </c:pt>
                <c:pt idx="5">
                  <c:v>6.4175</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4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M$2:$M$10</c:f>
              <c:numCache>
                <c:formatCode>General</c:formatCode>
                <c:ptCount val="9"/>
                <c:pt idx="0">
                  <c:v>5.7784</c:v>
                </c:pt>
                <c:pt idx="1">
                  <c:v>6.5436</c:v>
                </c:pt>
                <c:pt idx="2">
                  <c:v>13.5345</c:v>
                </c:pt>
                <c:pt idx="3">
                  <c:v>14.105</c:v>
                </c:pt>
                <c:pt idx="4">
                  <c:v>9.8974</c:v>
                </c:pt>
                <c:pt idx="5">
                  <c:v>6.3728</c:v>
                </c:pt>
                <c:pt idx="6">
                  <c:v>8.964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N$2:$N$10</c:f>
              <c:numCache>
                <c:formatCode>General</c:formatCode>
                <c:ptCount val="9"/>
                <c:pt idx="0">
                  <c:v>1.0034</c:v>
                </c:pt>
                <c:pt idx="1">
                  <c:v>8.3451</c:v>
                </c:pt>
                <c:pt idx="3">
                  <c:v>23.4326</c:v>
                </c:pt>
                <c:pt idx="4">
                  <c:v>16.1881</c:v>
                </c:pt>
                <c:pt idx="7">
                  <c:v>17.917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O$2:$O$10</c:f>
              <c:numCache>
                <c:formatCode>General</c:formatCode>
                <c:ptCount val="9"/>
                <c:pt idx="1">
                  <c:v>14.5892</c:v>
                </c:pt>
                <c:pt idx="3">
                  <c:v>19.9968</c:v>
                </c:pt>
                <c:pt idx="8">
                  <c:v>6.0479</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P$2:$P$10</c:f>
              <c:numCache>
                <c:formatCode>General</c:formatCode>
                <c:ptCount val="9"/>
                <c:pt idx="1">
                  <c:v>4.0</c:v>
                </c:pt>
                <c:pt idx="3">
                  <c:v>25.356</c:v>
                </c:pt>
                <c:pt idx="5">
                  <c:v>12.101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Q$2:$Q$10</c:f>
              <c:numCache>
                <c:formatCode>General</c:formatCode>
                <c:ptCount val="9"/>
                <c:pt idx="0">
                  <c:v>7.8026</c:v>
                </c:pt>
                <c:pt idx="1">
                  <c:v>10.5593</c:v>
                </c:pt>
                <c:pt idx="3">
                  <c:v>21.7854</c:v>
                </c:pt>
                <c:pt idx="4">
                  <c:v>16.609</c:v>
                </c:pt>
                <c:pt idx="6">
                  <c:v>16.913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B$2:$B$10</c:f>
              <c:numCache>
                <c:formatCode>General</c:formatCode>
                <c:ptCount val="9"/>
                <c:pt idx="1">
                  <c:v>3.0</c:v>
                </c:pt>
                <c:pt idx="3">
                  <c:v>27.01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C$2:$C$10</c:f>
              <c:numCache>
                <c:formatCode>General</c:formatCode>
                <c:ptCount val="9"/>
                <c:pt idx="0">
                  <c:v>25.8589</c:v>
                </c:pt>
                <c:pt idx="1">
                  <c:v>19.4787</c:v>
                </c:pt>
                <c:pt idx="3">
                  <c:v>39.3748</c:v>
                </c:pt>
                <c:pt idx="4">
                  <c:v>24.32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D$2:$D$10</c:f>
              <c:numCache>
                <c:formatCode>General</c:formatCode>
                <c:ptCount val="9"/>
                <c:pt idx="3">
                  <c:v>41.5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E$2:$E$10</c:f>
              <c:numCache>
                <c:formatCode>General</c:formatCode>
                <c:ptCount val="9"/>
                <c:pt idx="1">
                  <c:v>18.5</c:v>
                </c:pt>
                <c:pt idx="3">
                  <c:v>35.78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F$2:$F$10</c:f>
              <c:numCache>
                <c:formatCode>General</c:formatCode>
                <c:ptCount val="9"/>
                <c:pt idx="0">
                  <c:v>27.5854</c:v>
                </c:pt>
                <c:pt idx="3">
                  <c:v>39.3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G$2:$G$10</c:f>
              <c:numCache>
                <c:formatCode>General</c:formatCode>
                <c:ptCount val="9"/>
                <c:pt idx="0">
                  <c:v>36.94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H$2:$H$10</c:f>
              <c:numCache>
                <c:formatCode>General</c:formatCode>
                <c:ptCount val="9"/>
                <c:pt idx="0">
                  <c:v>5.4337</c:v>
                </c:pt>
                <c:pt idx="1">
                  <c:v>4.0</c:v>
                </c:pt>
                <c:pt idx="3">
                  <c:v>12.851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I$2:$I$10</c:f>
              <c:numCache>
                <c:formatCode>General</c:formatCode>
                <c:ptCount val="9"/>
                <c:pt idx="3">
                  <c:v>36.732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J$2:$J$10</c:f>
              <c:numCache>
                <c:formatCode>General</c:formatCode>
                <c:ptCount val="9"/>
                <c:pt idx="0">
                  <c:v>8.7883</c:v>
                </c:pt>
                <c:pt idx="1">
                  <c:v>8.4393</c:v>
                </c:pt>
                <c:pt idx="2">
                  <c:v>14.3525</c:v>
                </c:pt>
                <c:pt idx="3">
                  <c:v>13.1659</c:v>
                </c:pt>
                <c:pt idx="4">
                  <c:v>10.8144</c:v>
                </c:pt>
                <c:pt idx="6">
                  <c:v>9.103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K$2:$K$10</c:f>
              <c:numCache>
                <c:formatCode>General</c:formatCode>
                <c:ptCount val="9"/>
                <c:pt idx="0">
                  <c:v>10.1699</c:v>
                </c:pt>
                <c:pt idx="2">
                  <c:v>9.687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L$2:$L$10</c:f>
              <c:numCache>
                <c:formatCode>General</c:formatCode>
                <c:ptCount val="9"/>
                <c:pt idx="0">
                  <c:v>11.443</c:v>
                </c:pt>
                <c:pt idx="1">
                  <c:v>8.9443</c:v>
                </c:pt>
                <c:pt idx="2">
                  <c:v>12.7214</c:v>
                </c:pt>
                <c:pt idx="3">
                  <c:v>17.4046</c:v>
                </c:pt>
                <c:pt idx="4">
                  <c:v>10.0264</c:v>
                </c:pt>
                <c:pt idx="5">
                  <c:v>6.8789</c:v>
                </c:pt>
                <c:pt idx="6">
                  <c:v>8.9963</c:v>
                </c:pt>
                <c:pt idx="7">
                  <c:v>7.8335</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M$2:$M$10</c:f>
              <c:numCache>
                <c:formatCode>General</c:formatCode>
                <c:ptCount val="9"/>
                <c:pt idx="0">
                  <c:v>12.5425</c:v>
                </c:pt>
                <c:pt idx="1">
                  <c:v>5.4</c:v>
                </c:pt>
                <c:pt idx="2">
                  <c:v>9.5861</c:v>
                </c:pt>
                <c:pt idx="3">
                  <c:v>23.4824</c:v>
                </c:pt>
                <c:pt idx="4">
                  <c:v>16.775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6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N$2:$N$10</c:f>
              <c:numCache>
                <c:formatCode>General</c:formatCode>
                <c:ptCount val="9"/>
                <c:pt idx="0">
                  <c:v>15.194</c:v>
                </c:pt>
                <c:pt idx="3">
                  <c:v>22.3148</c:v>
                </c:pt>
                <c:pt idx="8">
                  <c:v>6.5097</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O$2:$O$10</c:f>
              <c:numCache>
                <c:formatCode>General</c:formatCode>
                <c:ptCount val="9"/>
                <c:pt idx="0">
                  <c:v>5.4197</c:v>
                </c:pt>
                <c:pt idx="5">
                  <c:v>12.2127</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P$2:$P$10</c:f>
              <c:numCache>
                <c:formatCode>General</c:formatCode>
                <c:ptCount val="9"/>
                <c:pt idx="0">
                  <c:v>13.0096</c:v>
                </c:pt>
                <c:pt idx="1">
                  <c:v>15.2905</c:v>
                </c:pt>
                <c:pt idx="3">
                  <c:v>29.7106</c:v>
                </c:pt>
                <c:pt idx="4">
                  <c:v>17.1079</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Q$2:$Q$10</c:f>
              <c:numCache>
                <c:formatCode>General</c:formatCode>
                <c:ptCount val="9"/>
                <c:pt idx="3">
                  <c:v>31.747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emo</c:v>
                </c:pt>
                <c:pt idx="1">
                  <c:v>Gillette</c:v>
                </c:pt>
                <c:pt idx="2">
                  <c:v>Harry's</c:v>
                </c:pt>
              </c:strCache>
            </c:strRef>
          </c:cat>
          <c:val>
            <c:numRef>
              <c:f>Sheet1!$B$2:$B$4</c:f>
              <c:numCache>
                <c:formatCode>General</c:formatCode>
                <c:ptCount val="3"/>
                <c:pt idx="2">
                  <c:v>23.1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Cremo</c:v>
                </c:pt>
                <c:pt idx="1">
                  <c:v>Gillette</c:v>
                </c:pt>
                <c:pt idx="2">
                  <c:v>Harry's</c:v>
                </c:pt>
              </c:strCache>
            </c:strRef>
          </c:cat>
          <c:val>
            <c:numRef>
              <c:f>Sheet1!$C$2:$C$4</c:f>
              <c:numCache>
                <c:formatCode>General</c:formatCode>
                <c:ptCount val="3"/>
                <c:pt idx="1">
                  <c:v>41.467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D$2:$D$4</c:f>
              <c:numCache>
                <c:formatCode>General</c:formatCode>
                <c:ptCount val="3"/>
                <c:pt idx="1">
                  <c:v>39.50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E$2:$E$4</c:f>
              <c:numCache>
                <c:formatCode>General</c:formatCode>
                <c:ptCount val="3"/>
                <c:pt idx="1">
                  <c:v>39.51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Cremo</c:v>
                </c:pt>
                <c:pt idx="1">
                  <c:v>Gillette</c:v>
                </c:pt>
                <c:pt idx="2">
                  <c:v>Harry's</c:v>
                </c:pt>
              </c:strCache>
            </c:strRef>
          </c:cat>
          <c:val>
            <c:numRef>
              <c:f>Sheet1!$F$2:$F$4</c:f>
              <c:numCache>
                <c:formatCode>General</c:formatCode>
                <c:ptCount val="3"/>
                <c:pt idx="1">
                  <c:v>37.042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emo</c:v>
                </c:pt>
                <c:pt idx="1">
                  <c:v>Gillette</c:v>
                </c:pt>
                <c:pt idx="2">
                  <c:v>Harry's</c:v>
                </c:pt>
              </c:strCache>
            </c:strRef>
          </c:cat>
          <c:val>
            <c:numRef>
              <c:f>Sheet1!$G$2:$G$4</c:f>
              <c:numCache>
                <c:formatCode>General</c:formatCode>
                <c:ptCount val="3"/>
                <c:pt idx="0">
                  <c:v>9.645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emo</c:v>
                </c:pt>
                <c:pt idx="1">
                  <c:v>Gillette</c:v>
                </c:pt>
                <c:pt idx="2">
                  <c:v>Harry's</c:v>
                </c:pt>
              </c:strCache>
            </c:strRef>
          </c:cat>
          <c:val>
            <c:numRef>
              <c:f>Sheet1!$H$2:$H$4</c:f>
              <c:numCache>
                <c:formatCode>General</c:formatCode>
                <c:ptCount val="3"/>
                <c:pt idx="1">
                  <c:v>32.146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9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I$2:$I$4</c:f>
              <c:numCache>
                <c:formatCode>General</c:formatCode>
                <c:ptCount val="3"/>
                <c:pt idx="1">
                  <c:v>28.635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B$2:$B$10</c:f>
              <c:numCache>
                <c:formatCode>General</c:formatCode>
                <c:ptCount val="9"/>
                <c:pt idx="1">
                  <c:v>3.0</c:v>
                </c:pt>
                <c:pt idx="3">
                  <c:v>26.2105</c:v>
                </c:pt>
                <c:pt idx="7">
                  <c:v>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C$2:$C$10</c:f>
              <c:numCache>
                <c:formatCode>General</c:formatCode>
                <c:ptCount val="9"/>
                <c:pt idx="0">
                  <c:v>26.197</c:v>
                </c:pt>
                <c:pt idx="1">
                  <c:v>19.48</c:v>
                </c:pt>
                <c:pt idx="3">
                  <c:v>36.667</c:v>
                </c:pt>
                <c:pt idx="4">
                  <c:v>23.9633</c:v>
                </c:pt>
                <c:pt idx="5">
                  <c:v>19.8873</c:v>
                </c:pt>
                <c:pt idx="8">
                  <c:v>10.917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D$2:$D$10</c:f>
              <c:numCache>
                <c:formatCode>General</c:formatCode>
                <c:ptCount val="9"/>
                <c:pt idx="1">
                  <c:v>18.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E$2:$E$10</c:f>
              <c:numCache>
                <c:formatCode>General</c:formatCode>
                <c:ptCount val="9"/>
                <c:pt idx="0">
                  <c:v>15.0</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F$2:$F$10</c:f>
              <c:numCache>
                <c:formatCode>General</c:formatCode>
                <c:ptCount val="9"/>
                <c:pt idx="0">
                  <c:v>14.0</c:v>
                </c:pt>
                <c:pt idx="1">
                  <c:v>3.5</c:v>
                </c:pt>
                <c:pt idx="3">
                  <c:v>14.483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G$2:$G$10</c:f>
              <c:numCache>
                <c:formatCode>General</c:formatCode>
                <c:ptCount val="9"/>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H$2:$H$10</c:f>
              <c:numCache>
                <c:formatCode>General</c:formatCode>
                <c:ptCount val="9"/>
                <c:pt idx="0">
                  <c:v>4.3177</c:v>
                </c:pt>
                <c:pt idx="1">
                  <c:v>8.4401</c:v>
                </c:pt>
                <c:pt idx="2">
                  <c:v>14.8057</c:v>
                </c:pt>
                <c:pt idx="3">
                  <c:v>12.678</c:v>
                </c:pt>
                <c:pt idx="4">
                  <c:v>11.0337</c:v>
                </c:pt>
                <c:pt idx="6">
                  <c:v>8.964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I$2:$I$10</c:f>
              <c:numCache>
                <c:formatCode>General</c:formatCode>
                <c:ptCount val="9"/>
                <c:pt idx="0">
                  <c:v>9.5902</c:v>
                </c:pt>
                <c:pt idx="3">
                  <c:v>12.661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J$2:$J$10</c:f>
              <c:numCache>
                <c:formatCode>General</c:formatCode>
                <c:ptCount val="9"/>
                <c:pt idx="0">
                  <c:v>9.1995</c:v>
                </c:pt>
                <c:pt idx="1">
                  <c:v>8.9444</c:v>
                </c:pt>
                <c:pt idx="2">
                  <c:v>13.5345</c:v>
                </c:pt>
                <c:pt idx="3">
                  <c:v>16.6165</c:v>
                </c:pt>
                <c:pt idx="4">
                  <c:v>9.97</c:v>
                </c:pt>
                <c:pt idx="5">
                  <c:v>6.7359</c:v>
                </c:pt>
                <c:pt idx="6">
                  <c:v>8.964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K$2:$K$10</c:f>
              <c:numCache>
                <c:formatCode>General</c:formatCode>
                <c:ptCount val="9"/>
                <c:pt idx="0">
                  <c:v>8.3451</c:v>
                </c:pt>
                <c:pt idx="1">
                  <c:v>5.4</c:v>
                </c:pt>
                <c:pt idx="3">
                  <c:v>23.4403</c:v>
                </c:pt>
                <c:pt idx="4">
                  <c:v>16.1881</c:v>
                </c:pt>
                <c:pt idx="7">
                  <c:v>17.917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L$2:$L$10</c:f>
              <c:numCache>
                <c:formatCode>General</c:formatCode>
                <c:ptCount val="9"/>
                <c:pt idx="0">
                  <c:v>14.5899</c:v>
                </c:pt>
                <c:pt idx="3">
                  <c:v>22.3567</c:v>
                </c:pt>
                <c:pt idx="8">
                  <c:v>6.047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7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M$2:$M$10</c:f>
              <c:numCache>
                <c:formatCode>General</c:formatCode>
                <c:ptCount val="9"/>
                <c:pt idx="0">
                  <c:v>4.0</c:v>
                </c:pt>
                <c:pt idx="3">
                  <c:v>28.5356</c:v>
                </c:pt>
                <c:pt idx="5">
                  <c:v>12.051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8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N$2:$N$10</c:f>
              <c:numCache>
                <c:formatCode>General</c:formatCode>
                <c:ptCount val="9"/>
                <c:pt idx="0">
                  <c:v>5.3163</c:v>
                </c:pt>
                <c:pt idx="1">
                  <c:v>15.2946</c:v>
                </c:pt>
                <c:pt idx="3">
                  <c:v>26.9981</c:v>
                </c:pt>
                <c:pt idx="4">
                  <c:v>16.9503</c:v>
                </c:pt>
                <c:pt idx="6">
                  <c:v>16.9131</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B$2:$B$7</c:f>
              <c:numCache>
                <c:formatCode>General</c:formatCode>
                <c:ptCount val="6"/>
                <c:pt idx="0">
                  <c:v>12.5455</c:v>
                </c:pt>
                <c:pt idx="2">
                  <c:v>10.6879</c:v>
                </c:pt>
                <c:pt idx="3">
                  <c:v>4.62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C$2:$C$7</c:f>
              <c:numCache>
                <c:formatCode>General</c:formatCode>
                <c:ptCount val="6"/>
                <c:pt idx="0">
                  <c:v>8.4028</c:v>
                </c:pt>
                <c:pt idx="1">
                  <c:v>2.1772</c:v>
                </c:pt>
                <c:pt idx="2">
                  <c:v>12.5274</c:v>
                </c:pt>
                <c:pt idx="3">
                  <c:v>3.7378</c:v>
                </c:pt>
                <c:pt idx="4">
                  <c:v>3.176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D$2:$D$7</c:f>
              <c:numCache>
                <c:formatCode>General</c:formatCode>
                <c:ptCount val="6"/>
                <c:pt idx="2">
                  <c:v>15.04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E$2:$E$7</c:f>
              <c:numCache>
                <c:formatCode>General</c:formatCode>
                <c:ptCount val="6"/>
                <c:pt idx="2">
                  <c:v>14.89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F$2:$F$7</c:f>
              <c:numCache>
                <c:formatCode>General</c:formatCode>
                <c:ptCount val="6"/>
                <c:pt idx="0">
                  <c:v>2.57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G$2:$G$7</c:f>
              <c:numCache>
                <c:formatCode>General</c:formatCode>
                <c:ptCount val="6"/>
                <c:pt idx="0">
                  <c:v>18.186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H$2:$H$7</c:f>
              <c:numCache>
                <c:formatCode>General</c:formatCode>
                <c:ptCount val="6"/>
                <c:pt idx="2">
                  <c:v>20.530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I$2:$I$7</c:f>
              <c:numCache>
                <c:formatCode>General</c:formatCode>
                <c:ptCount val="6"/>
                <c:pt idx="2">
                  <c:v>22.288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J$2:$J$7</c:f>
              <c:numCache>
                <c:formatCode>General</c:formatCode>
                <c:ptCount val="6"/>
                <c:pt idx="0">
                  <c:v>21.7178</c:v>
                </c:pt>
                <c:pt idx="2">
                  <c:v>20.581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K$2:$K$7</c:f>
              <c:numCache>
                <c:formatCode>General</c:formatCode>
                <c:ptCount val="6"/>
                <c:pt idx="0">
                  <c:v>2.9434</c:v>
                </c:pt>
                <c:pt idx="1">
                  <c:v>2.1102</c:v>
                </c:pt>
                <c:pt idx="2">
                  <c:v>10.1918</c:v>
                </c:pt>
                <c:pt idx="3">
                  <c:v>6.160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3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L$2:$L$7</c:f>
              <c:numCache>
                <c:formatCode>General</c:formatCode>
                <c:ptCount val="6"/>
                <c:pt idx="2">
                  <c:v>28.882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3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M$2:$M$7</c:f>
              <c:numCache>
                <c:formatCode>General</c:formatCode>
                <c:ptCount val="6"/>
                <c:pt idx="0">
                  <c:v>9.1257</c:v>
                </c:pt>
                <c:pt idx="1">
                  <c:v>5.0496</c:v>
                </c:pt>
                <c:pt idx="2">
                  <c:v>7.1175</c:v>
                </c:pt>
                <c:pt idx="3">
                  <c:v>6.5505</c:v>
                </c:pt>
                <c:pt idx="4">
                  <c:v>5.9912</c:v>
                </c:pt>
                <c:pt idx="5">
                  <c:v>2.088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4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N$2:$N$7</c:f>
              <c:numCache>
                <c:formatCode>General</c:formatCode>
                <c:ptCount val="6"/>
                <c:pt idx="0">
                  <c:v>7.0706</c:v>
                </c:pt>
                <c:pt idx="1">
                  <c:v>3.97</c:v>
                </c:pt>
                <c:pt idx="2">
                  <c:v>7.2951</c:v>
                </c:pt>
                <c:pt idx="3">
                  <c:v>5.7992</c:v>
                </c:pt>
                <c:pt idx="4">
                  <c:v>3.884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52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O$2:$O$7</c:f>
              <c:numCache>
                <c:formatCode>General</c:formatCode>
                <c:ptCount val="6"/>
                <c:pt idx="2">
                  <c:v>31.264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P$2:$P$7</c:f>
              <c:numCache>
                <c:formatCode>General</c:formatCode>
                <c:ptCount val="6"/>
                <c:pt idx="1">
                  <c:v>1.0016</c:v>
                </c:pt>
                <c:pt idx="2">
                  <c:v>7.0962</c:v>
                </c:pt>
                <c:pt idx="3">
                  <c:v>5.100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Q$2:$Q$7</c:f>
              <c:numCache>
                <c:formatCode>General</c:formatCode>
                <c:ptCount val="6"/>
                <c:pt idx="0">
                  <c:v>6.4316</c:v>
                </c:pt>
                <c:pt idx="2">
                  <c:v>12.578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R$2:$R$7</c:f>
              <c:numCache>
                <c:formatCode>General</c:formatCode>
                <c:ptCount val="6"/>
                <c:pt idx="2">
                  <c:v>12.414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S$2:$S$7</c:f>
              <c:numCache>
                <c:formatCode>General</c:formatCode>
                <c:ptCount val="6"/>
                <c:pt idx="0">
                  <c:v>11.3234</c:v>
                </c:pt>
                <c:pt idx="1">
                  <c:v>5.9797</c:v>
                </c:pt>
                <c:pt idx="2">
                  <c:v>12.0094</c:v>
                </c:pt>
                <c:pt idx="3">
                  <c:v>5.5367</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T$2:$T$7</c:f>
              <c:numCache>
                <c:formatCode>General</c:formatCode>
                <c:ptCount val="6"/>
                <c:pt idx="0">
                  <c:v>21.249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2</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dLbl>
              <c:idx val="8"/>
              <c:tx>
                <c:rich>
                  <a:bodyPr/>
                  <a:lstStyle/>
                  <a:p>
                    <a:r>
                      <a:t>14.91</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26.97</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9.97</a:t>
                    </a:r>
                  </a:p>
                </c:rich>
              </c:tx>
              <c:dLblPos val="t"/>
              <c:showLegendKey val="0"/>
              <c:showVal val="1"/>
              <c:showCatName val="0"/>
              <c:showSerName val="0"/>
              <c:showPercent val="0"/>
              <c:showBubbleSize val="0"/>
            </c:dLbl>
            <c:dLbl>
              <c:idx val="13"/>
              <c:tx>
                <c:rich>
                  <a:bodyPr/>
                  <a:lstStyle/>
                  <a:p>
                    <a:r>
                      <a:t>9.92</a:t>
                    </a:r>
                  </a:p>
                </c:rich>
              </c:tx>
              <c:dLblPos val="t"/>
              <c:showLegendKey val="0"/>
              <c:showVal val="1"/>
              <c:showCatName val="0"/>
              <c:showSerName val="0"/>
              <c:showPercent val="0"/>
              <c:showBubbleSize val="0"/>
            </c:dLbl>
            <c:dLbl>
              <c:idx val="14"/>
              <c:tx>
                <c:rich>
                  <a:bodyPr/>
                  <a:lstStyle/>
                  <a:p>
                    <a:r>
                      <a:t>7.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pt idx="8">
                  <c:v>HYDRO 5 SENSITIVE 5 BLADE REFILL SENSITIVE 6CT</c:v>
                </c:pt>
                <c:pt idx="9">
                  <c:v>HYDRO 5 SENSITIVE 5 BLADE RAZOR SENSITIVE 3CT</c:v>
                </c:pt>
                <c:pt idx="10">
                  <c:v>HYDRO 5 SENSITIVE 5 BLADE REFILL SENSITIVE 12CT</c:v>
                </c:pt>
                <c:pt idx="11">
                  <c:v>HYDRO 5 SENSITIVE GRAY HOLIDAY GIFT PACK 5 BLADE RAZOR SENSITIVE 3CT</c:v>
                </c:pt>
                <c:pt idx="12">
                  <c:v>SCHICK HYDRO 3 SENSITIVE 3 BLADE RAZOR SENSITIVE 4CT</c:v>
                </c:pt>
                <c:pt idx="13">
                  <c:v>SCHICK HYDRO 3 SENSITIVE 3 BLADE REFILL SENSITIVE 5CT</c:v>
                </c:pt>
                <c:pt idx="14">
                  <c:v>HYDRO 5 SENSITIVE 5 BLADE REFILL SENSITIVE 4CT</c:v>
                </c:pt>
              </c:strCache>
            </c:strRef>
          </c:cat>
          <c:val>
            <c:numRef>
              <c:f>Sheet1!$B$2:$B$16</c:f>
              <c:numCache>
                <c:formatCode>General</c:formatCode>
                <c:ptCount val="15"/>
                <c:pt idx="0">
                  <c:v>6.5</c:v>
                </c:pt>
                <c:pt idx="1">
                  <c:v>11.01</c:v>
                </c:pt>
                <c:pt idx="2">
                  <c:v>6.5</c:v>
                </c:pt>
                <c:pt idx="3">
                  <c:v>15.03</c:v>
                </c:pt>
                <c:pt idx="4">
                  <c:v>10.0</c:v>
                </c:pt>
                <c:pt idx="5">
                  <c:v>11.02</c:v>
                </c:pt>
                <c:pt idx="6">
                  <c:v>6.53</c:v>
                </c:pt>
                <c:pt idx="7">
                  <c:v>15.1</c:v>
                </c:pt>
                <c:pt idx="8">
                  <c:v>14.91</c:v>
                </c:pt>
                <c:pt idx="9">
                  <c:v>9.96</c:v>
                </c:pt>
                <c:pt idx="10">
                  <c:v>26.97</c:v>
                </c:pt>
                <c:pt idx="11">
                  <c:v>10.0</c:v>
                </c:pt>
                <c:pt idx="12">
                  <c:v>9.97</c:v>
                </c:pt>
                <c:pt idx="13">
                  <c:v>9.92</c:v>
                </c:pt>
                <c:pt idx="14">
                  <c:v>7.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Schick</c:v>
                </c:pt>
                <c:pt idx="1">
                  <c:v>Gillette</c:v>
                </c:pt>
                <c:pt idx="2">
                  <c:v>Bic</c:v>
                </c:pt>
              </c:strCache>
            </c:strRef>
          </c:cat>
          <c:val>
            <c:numRef>
              <c:f>Sheet1!$B$2:$B$4</c:f>
              <c:numCache>
                <c:formatCode>General</c:formatCode>
                <c:ptCount val="3"/>
                <c:pt idx="0">
                  <c:v>18.13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Schick</c:v>
                </c:pt>
                <c:pt idx="1">
                  <c:v>Gillette</c:v>
                </c:pt>
                <c:pt idx="2">
                  <c:v>Bic</c:v>
                </c:pt>
              </c:strCache>
            </c:strRef>
          </c:cat>
          <c:val>
            <c:numRef>
              <c:f>Sheet1!$C$2:$C$4</c:f>
              <c:numCache>
                <c:formatCode>General</c:formatCode>
                <c:ptCount val="3"/>
                <c:pt idx="1">
                  <c:v>22.171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chick</c:v>
                </c:pt>
                <c:pt idx="1">
                  <c:v>Gillette</c:v>
                </c:pt>
                <c:pt idx="2">
                  <c:v>Bic</c:v>
                </c:pt>
              </c:strCache>
            </c:strRef>
          </c:cat>
          <c:val>
            <c:numRef>
              <c:f>Sheet1!$D$2:$D$4</c:f>
              <c:numCache>
                <c:formatCode>General</c:formatCode>
                <c:ptCount val="3"/>
                <c:pt idx="0">
                  <c:v>21.752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chick</c:v>
                </c:pt>
                <c:pt idx="1">
                  <c:v>Gillette</c:v>
                </c:pt>
                <c:pt idx="2">
                  <c:v>Bic</c:v>
                </c:pt>
              </c:strCache>
            </c:strRef>
          </c:cat>
          <c:val>
            <c:numRef>
              <c:f>Sheet1!$E$2:$E$4</c:f>
              <c:numCache>
                <c:formatCode>General</c:formatCode>
                <c:ptCount val="3"/>
                <c:pt idx="1">
                  <c:v>31.72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9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Schick</c:v>
                </c:pt>
                <c:pt idx="1">
                  <c:v>Gillette</c:v>
                </c:pt>
                <c:pt idx="2">
                  <c:v>Bic</c:v>
                </c:pt>
              </c:strCache>
            </c:strRef>
          </c:cat>
          <c:val>
            <c:numRef>
              <c:f>Sheet1!$F$2:$F$4</c:f>
              <c:numCache>
                <c:formatCode>General</c:formatCode>
                <c:ptCount val="3"/>
                <c:pt idx="2">
                  <c:v>17.716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B$2:$B$5</c:f>
              <c:numCache>
                <c:formatCode>General</c:formatCode>
                <c:ptCount val="4"/>
                <c:pt idx="1">
                  <c:v>4.4375</c:v>
                </c:pt>
                <c:pt idx="2">
                  <c:v>10.2883</c:v>
                </c:pt>
                <c:pt idx="3">
                  <c:v>5.88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C$2:$C$5</c:f>
              <c:numCache>
                <c:formatCode>General</c:formatCode>
                <c:ptCount val="4"/>
                <c:pt idx="0">
                  <c:v>2.1773</c:v>
                </c:pt>
                <c:pt idx="1">
                  <c:v>8.4824</c:v>
                </c:pt>
                <c:pt idx="2">
                  <c:v>11.7058</c:v>
                </c:pt>
                <c:pt idx="3">
                  <c:v>3.43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D$2:$D$5</c:f>
              <c:numCache>
                <c:formatCode>General</c:formatCode>
                <c:ptCount val="4"/>
                <c:pt idx="2">
                  <c:v>15.012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E$2:$E$5</c:f>
              <c:numCache>
                <c:formatCode>General</c:formatCode>
                <c:ptCount val="4"/>
                <c:pt idx="2">
                  <c:v>14.99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F$2:$F$5</c:f>
              <c:numCache>
                <c:formatCode>General</c:formatCode>
                <c:ptCount val="4"/>
                <c:pt idx="1">
                  <c:v>0.79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G$2:$G$5</c:f>
              <c:numCache>
                <c:formatCode>General</c:formatCode>
                <c:ptCount val="4"/>
                <c:pt idx="1">
                  <c:v>25.0</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H$2:$H$5</c:f>
              <c:numCache>
                <c:formatCode>General</c:formatCode>
                <c:ptCount val="4"/>
                <c:pt idx="2">
                  <c:v>20.06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I$2:$I$5</c:f>
              <c:numCache>
                <c:formatCode>General</c:formatCode>
                <c:ptCount val="4"/>
                <c:pt idx="2">
                  <c:v>19.960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J$2:$J$5</c:f>
              <c:numCache>
                <c:formatCode>General</c:formatCode>
                <c:ptCount val="4"/>
                <c:pt idx="0">
                  <c:v>1.937</c:v>
                </c:pt>
                <c:pt idx="1">
                  <c:v>2.5</c:v>
                </c:pt>
                <c:pt idx="2">
                  <c:v>9.9791</c:v>
                </c:pt>
                <c:pt idx="3">
                  <c:v>6.047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K$2:$K$5</c:f>
              <c:numCache>
                <c:formatCode>General</c:formatCode>
                <c:ptCount val="4"/>
                <c:pt idx="0">
                  <c:v>5.0484</c:v>
                </c:pt>
                <c:pt idx="1">
                  <c:v>3.8235</c:v>
                </c:pt>
                <c:pt idx="2">
                  <c:v>6.9635</c:v>
                </c:pt>
                <c:pt idx="3">
                  <c:v>6.446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L$2:$L$5</c:f>
              <c:numCache>
                <c:formatCode>General</c:formatCode>
                <c:ptCount val="4"/>
                <c:pt idx="0">
                  <c:v>3.972</c:v>
                </c:pt>
                <c:pt idx="1">
                  <c:v>6.4918</c:v>
                </c:pt>
                <c:pt idx="2">
                  <c:v>6.9784</c:v>
                </c:pt>
                <c:pt idx="3">
                  <c:v>5.957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M$2:$M$5</c:f>
              <c:numCache>
                <c:formatCode>General</c:formatCode>
                <c:ptCount val="4"/>
                <c:pt idx="0">
                  <c:v>1.0034</c:v>
                </c:pt>
                <c:pt idx="3">
                  <c:v>4.918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6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N$2:$N$5</c:f>
              <c:numCache>
                <c:formatCode>General</c:formatCode>
                <c:ptCount val="4"/>
                <c:pt idx="1">
                  <c:v>5.6071</c:v>
                </c:pt>
                <c:pt idx="2">
                  <c:v>13.062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O$2:$O$5</c:f>
              <c:numCache>
                <c:formatCode>General</c:formatCode>
                <c:ptCount val="4"/>
                <c:pt idx="2">
                  <c:v>14.9907</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P$2:$P$5</c:f>
              <c:numCache>
                <c:formatCode>General</c:formatCode>
                <c:ptCount val="4"/>
                <c:pt idx="0">
                  <c:v>5.9797</c:v>
                </c:pt>
                <c:pt idx="1">
                  <c:v>10.5602</c:v>
                </c:pt>
                <c:pt idx="2">
                  <c:v>12.0142</c:v>
                </c:pt>
                <c:pt idx="3">
                  <c:v>5.335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B$2:$B$9</c:f>
              <c:numCache>
                <c:formatCode>General</c:formatCode>
                <c:ptCount val="8"/>
                <c:pt idx="4">
                  <c:v>23.11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C$2:$C$9</c:f>
              <c:numCache>
                <c:formatCode>General</c:formatCode>
                <c:ptCount val="8"/>
                <c:pt idx="0">
                  <c:v>39.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D$2:$D$9</c:f>
              <c:numCache>
                <c:formatCode>General</c:formatCode>
                <c:ptCount val="8"/>
                <c:pt idx="3">
                  <c:v>44.35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E$2:$E$9</c:f>
              <c:numCache>
                <c:formatCode>General</c:formatCode>
                <c:ptCount val="8"/>
                <c:pt idx="0">
                  <c:v>27.585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F$2:$F$9</c:f>
              <c:numCache>
                <c:formatCode>General</c:formatCode>
                <c:ptCount val="8"/>
                <c:pt idx="0">
                  <c:v>36.947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G$2:$G$9</c:f>
              <c:numCache>
                <c:formatCode>General</c:formatCode>
                <c:ptCount val="8"/>
                <c:pt idx="0">
                  <c:v>5.4337</c:v>
                </c:pt>
                <c:pt idx="1">
                  <c:v>4.0</c:v>
                </c:pt>
                <c:pt idx="3">
                  <c:v>12.85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H$2:$H$9</c:f>
              <c:numCache>
                <c:formatCode>General</c:formatCode>
                <c:ptCount val="8"/>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I$2:$I$9</c:f>
              <c:numCache>
                <c:formatCode>General</c:formatCode>
                <c:ptCount val="8"/>
                <c:pt idx="0">
                  <c:v>9.1042</c:v>
                </c:pt>
                <c:pt idx="1">
                  <c:v>8.4393</c:v>
                </c:pt>
                <c:pt idx="2">
                  <c:v>14.3525</c:v>
                </c:pt>
                <c:pt idx="3">
                  <c:v>13.2033</c:v>
                </c:pt>
                <c:pt idx="4">
                  <c:v>10.8144</c:v>
                </c:pt>
                <c:pt idx="5">
                  <c:v>9.1038</c:v>
                </c:pt>
                <c:pt idx="7">
                  <c:v>7.776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J$2:$J$9</c:f>
              <c:numCache>
                <c:formatCode>General</c:formatCode>
                <c:ptCount val="8"/>
                <c:pt idx="0">
                  <c:v>10.1758</c:v>
                </c:pt>
                <c:pt idx="2">
                  <c:v>9.6875</c:v>
                </c:pt>
                <c:pt idx="3">
                  <c:v>12.955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K$2:$K$9</c:f>
              <c:numCache>
                <c:formatCode>General</c:formatCode>
                <c:ptCount val="8"/>
                <c:pt idx="0">
                  <c:v>11.3406</c:v>
                </c:pt>
                <c:pt idx="3">
                  <c:v>22.390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L$2:$L$9</c:f>
              <c:numCache>
                <c:formatCode>General</c:formatCode>
                <c:ptCount val="8"/>
                <c:pt idx="0">
                  <c:v>17.9653</c:v>
                </c:pt>
                <c:pt idx="2">
                  <c:v>9.5861</c:v>
                </c:pt>
                <c:pt idx="3">
                  <c:v>23.4839</c:v>
                </c:pt>
                <c:pt idx="4">
                  <c:v>16.7757</c:v>
                </c:pt>
                <c:pt idx="6">
                  <c:v>18.174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M$2:$M$9</c:f>
              <c:numCache>
                <c:formatCode>General</c:formatCode>
                <c:ptCount val="8"/>
                <c:pt idx="3">
                  <c:v>21.030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7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N$2:$N$9</c:f>
              <c:numCache>
                <c:formatCode>General</c:formatCode>
                <c:ptCount val="8"/>
                <c:pt idx="3">
                  <c:v>28.534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O$2:$O$9</c:f>
              <c:numCache>
                <c:formatCode>General</c:formatCode>
                <c:ptCount val="8"/>
                <c:pt idx="3">
                  <c:v>28.914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emo</c:v>
                </c:pt>
                <c:pt idx="1">
                  <c:v>Gillette</c:v>
                </c:pt>
                <c:pt idx="2">
                  <c:v>Harry's</c:v>
                </c:pt>
              </c:strCache>
            </c:strRef>
          </c:cat>
          <c:val>
            <c:numRef>
              <c:f>Sheet1!$B$2:$B$4</c:f>
              <c:numCache>
                <c:formatCode>General</c:formatCode>
                <c:ptCount val="3"/>
                <c:pt idx="2">
                  <c:v>23.1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Cremo</c:v>
                </c:pt>
                <c:pt idx="1">
                  <c:v>Gillette</c:v>
                </c:pt>
                <c:pt idx="2">
                  <c:v>Harry's</c:v>
                </c:pt>
              </c:strCache>
            </c:strRef>
          </c:cat>
          <c:val>
            <c:numRef>
              <c:f>Sheet1!$C$2:$C$4</c:f>
              <c:numCache>
                <c:formatCode>General</c:formatCode>
                <c:ptCount val="3"/>
                <c:pt idx="1">
                  <c:v>44.320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D$2:$D$4</c:f>
              <c:numCache>
                <c:formatCode>General</c:formatCode>
                <c:ptCount val="3"/>
                <c:pt idx="0">
                  <c:v>9.64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E$2:$E$4</c:f>
              <c:numCache>
                <c:formatCode>General</c:formatCode>
                <c:ptCount val="3"/>
                <c:pt idx="1">
                  <c:v>32.146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9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Cremo</c:v>
                </c:pt>
                <c:pt idx="1">
                  <c:v>Gillette</c:v>
                </c:pt>
                <c:pt idx="2">
                  <c:v>Harry's</c:v>
                </c:pt>
              </c:strCache>
            </c:strRef>
          </c:cat>
          <c:val>
            <c:numRef>
              <c:f>Sheet1!$F$2:$F$4</c:f>
              <c:numCache>
                <c:formatCode>General</c:formatCode>
                <c:ptCount val="3"/>
                <c:pt idx="1">
                  <c:v>28.635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B$2:$B$8</c:f>
              <c:numCache>
                <c:formatCode>General</c:formatCode>
                <c:ptCount val="7"/>
                <c:pt idx="3">
                  <c:v>29.91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C$2:$C$8</c:f>
              <c:numCache>
                <c:formatCode>General</c:formatCode>
                <c:ptCount val="7"/>
                <c:pt idx="0">
                  <c:v>15.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D$2:$D$8</c:f>
              <c:numCache>
                <c:formatCode>General</c:formatCode>
                <c:ptCount val="7"/>
                <c:pt idx="0">
                  <c:v>14.0</c:v>
                </c:pt>
                <c:pt idx="1">
                  <c:v>3.5</c:v>
                </c:pt>
                <c:pt idx="3">
                  <c:v>14.48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E$2:$E$8</c:f>
              <c:numCache>
                <c:formatCode>General</c:formatCode>
                <c:ptCount val="7"/>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F$2:$F$8</c:f>
              <c:numCache>
                <c:formatCode>General</c:formatCode>
                <c:ptCount val="7"/>
                <c:pt idx="0">
                  <c:v>4.3177</c:v>
                </c:pt>
                <c:pt idx="1">
                  <c:v>8.4401</c:v>
                </c:pt>
                <c:pt idx="2">
                  <c:v>14.8057</c:v>
                </c:pt>
                <c:pt idx="3">
                  <c:v>12.6781</c:v>
                </c:pt>
                <c:pt idx="4">
                  <c:v>11.0337</c:v>
                </c:pt>
                <c:pt idx="5">
                  <c:v>8.964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G$2:$G$8</c:f>
              <c:numCache>
                <c:formatCode>General</c:formatCode>
                <c:ptCount val="7"/>
                <c:pt idx="0">
                  <c:v>9.5919</c:v>
                </c:pt>
                <c:pt idx="3">
                  <c:v>12.66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H$2:$H$8</c:f>
              <c:numCache>
                <c:formatCode>General</c:formatCode>
                <c:ptCount val="7"/>
                <c:pt idx="0">
                  <c:v>9.5308</c:v>
                </c:pt>
                <c:pt idx="3">
                  <c:v>21.349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I$2:$I$8</c:f>
              <c:numCache>
                <c:formatCode>General</c:formatCode>
                <c:ptCount val="7"/>
                <c:pt idx="3">
                  <c:v>23.4406</c:v>
                </c:pt>
                <c:pt idx="4">
                  <c:v>16.1881</c:v>
                </c:pt>
                <c:pt idx="6">
                  <c:v>17.95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J$2:$J$8</c:f>
              <c:numCache>
                <c:formatCode>General</c:formatCode>
                <c:ptCount val="7"/>
                <c:pt idx="3">
                  <c:v>20.921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7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K$2:$K$8</c:f>
              <c:numCache>
                <c:formatCode>General</c:formatCode>
                <c:ptCount val="7"/>
                <c:pt idx="3">
                  <c:v>28.5356</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B$2:$B$8</c:f>
              <c:numCache>
                <c:formatCode>General</c:formatCode>
                <c:ptCount val="7"/>
                <c:pt idx="1">
                  <c:v>3.0</c:v>
                </c:pt>
                <c:pt idx="3">
                  <c:v>26.91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C$2:$C$8</c:f>
              <c:numCache>
                <c:formatCode>General</c:formatCode>
                <c:ptCount val="7"/>
                <c:pt idx="0">
                  <c:v>25.8588</c:v>
                </c:pt>
                <c:pt idx="1">
                  <c:v>19.4787</c:v>
                </c:pt>
                <c:pt idx="3">
                  <c:v>39.3748</c:v>
                </c:pt>
                <c:pt idx="4">
                  <c:v>24.32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D$2:$D$8</c:f>
              <c:numCache>
                <c:formatCode>General</c:formatCode>
                <c:ptCount val="7"/>
                <c:pt idx="3">
                  <c:v>37.78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E$2:$E$8</c:f>
              <c:numCache>
                <c:formatCode>General</c:formatCode>
                <c:ptCount val="7"/>
                <c:pt idx="1">
                  <c:v>18.5</c:v>
                </c:pt>
                <c:pt idx="3">
                  <c:v>35.78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F$2:$F$8</c:f>
              <c:numCache>
                <c:formatCode>General</c:formatCode>
                <c:ptCount val="7"/>
                <c:pt idx="3">
                  <c:v>39.3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G$2:$G$8</c:f>
              <c:numCache>
                <c:formatCode>General</c:formatCode>
                <c:ptCount val="7"/>
                <c:pt idx="3">
                  <c:v>36.741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H$2:$H$8</c:f>
              <c:numCache>
                <c:formatCode>General</c:formatCode>
                <c:ptCount val="7"/>
                <c:pt idx="0">
                  <c:v>4.8825</c:v>
                </c:pt>
                <c:pt idx="3">
                  <c:v>12.540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I$2:$I$8</c:f>
              <c:numCache>
                <c:formatCode>General</c:formatCode>
                <c:ptCount val="7"/>
                <c:pt idx="0">
                  <c:v>11.7565</c:v>
                </c:pt>
                <c:pt idx="1">
                  <c:v>8.9443</c:v>
                </c:pt>
                <c:pt idx="2">
                  <c:v>12.7214</c:v>
                </c:pt>
                <c:pt idx="3">
                  <c:v>17.4135</c:v>
                </c:pt>
                <c:pt idx="4">
                  <c:v>10.0264</c:v>
                </c:pt>
                <c:pt idx="5">
                  <c:v>8.9963</c:v>
                </c:pt>
                <c:pt idx="6">
                  <c:v>8.237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J$2:$J$8</c:f>
              <c:numCache>
                <c:formatCode>General</c:formatCode>
                <c:ptCount val="7"/>
                <c:pt idx="0">
                  <c:v>11.7188</c:v>
                </c:pt>
                <c:pt idx="1">
                  <c:v>5.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K$2:$K$8</c:f>
              <c:numCache>
                <c:formatCode>General</c:formatCode>
                <c:ptCount val="7"/>
                <c:pt idx="0">
                  <c:v>15.194</c:v>
                </c:pt>
                <c:pt idx="3">
                  <c:v>31.834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L$2:$L$8</c:f>
              <c:numCache>
                <c:formatCode>General</c:formatCode>
                <c:ptCount val="7"/>
                <c:pt idx="0">
                  <c:v>5.419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M$2:$M$8</c:f>
              <c:numCache>
                <c:formatCode>General</c:formatCode>
                <c:ptCount val="7"/>
                <c:pt idx="0">
                  <c:v>13.0096</c:v>
                </c:pt>
                <c:pt idx="1">
                  <c:v>15.2905</c:v>
                </c:pt>
                <c:pt idx="3">
                  <c:v>29.6969</c:v>
                </c:pt>
                <c:pt idx="4">
                  <c:v>17.1079</c:v>
                </c:pt>
                <c:pt idx="5">
                  <c:v>16.69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N$2:$N$8</c:f>
              <c:numCache>
                <c:formatCode>General</c:formatCode>
                <c:ptCount val="7"/>
                <c:pt idx="3">
                  <c:v>37.0321</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37.72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Gillette</c:v>
                </c:pt>
              </c:strCache>
            </c:strRef>
          </c:cat>
          <c:val>
            <c:numRef>
              <c:f>Sheet1!$C$2:$C$2</c:f>
              <c:numCache>
                <c:formatCode>General</c:formatCode>
                <c:ptCount val="1"/>
                <c:pt idx="0">
                  <c:v>39.50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c:v>
                </c:pt>
              </c:strCache>
            </c:strRef>
          </c:cat>
          <c:val>
            <c:numRef>
              <c:f>Sheet1!$D$2:$D$2</c:f>
              <c:numCache>
                <c:formatCode>General</c:formatCode>
                <c:ptCount val="1"/>
                <c:pt idx="0">
                  <c:v>39.517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c:v>
                </c:pt>
              </c:strCache>
            </c:strRef>
          </c:cat>
          <c:val>
            <c:numRef>
              <c:f>Sheet1!$E$2:$E$2</c:f>
              <c:numCache>
                <c:formatCode>General</c:formatCode>
                <c:ptCount val="1"/>
                <c:pt idx="0">
                  <c:v>37.042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B$2:$B$8</c:f>
              <c:numCache>
                <c:formatCode>General</c:formatCode>
                <c:ptCount val="7"/>
                <c:pt idx="1">
                  <c:v>3.0</c:v>
                </c:pt>
                <c:pt idx="3">
                  <c:v>24.7129</c:v>
                </c:pt>
                <c:pt idx="6">
                  <c:v>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C$2:$C$8</c:f>
              <c:numCache>
                <c:formatCode>General</c:formatCode>
                <c:ptCount val="7"/>
                <c:pt idx="0">
                  <c:v>26.197</c:v>
                </c:pt>
                <c:pt idx="1">
                  <c:v>19.48</c:v>
                </c:pt>
                <c:pt idx="3">
                  <c:v>36.667</c:v>
                </c:pt>
                <c:pt idx="4">
                  <c:v>23.96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D$2:$D$8</c:f>
              <c:numCache>
                <c:formatCode>General</c:formatCode>
                <c:ptCount val="7"/>
                <c:pt idx="1">
                  <c:v>18.5</c:v>
                </c:pt>
                <c:pt idx="3">
                  <c:v>36.75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E$2:$E$8</c:f>
              <c:numCache>
                <c:formatCode>General</c:formatCode>
                <c:ptCount val="7"/>
                <c:pt idx="0">
                  <c:v>5.6729</c:v>
                </c:pt>
                <c:pt idx="1">
                  <c:v>8.9444</c:v>
                </c:pt>
                <c:pt idx="2">
                  <c:v>13.5345</c:v>
                </c:pt>
                <c:pt idx="3">
                  <c:v>16.2504</c:v>
                </c:pt>
                <c:pt idx="4">
                  <c:v>9.97</c:v>
                </c:pt>
                <c:pt idx="5">
                  <c:v>8.964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F$2:$F$8</c:f>
              <c:numCache>
                <c:formatCode>General</c:formatCode>
                <c:ptCount val="7"/>
                <c:pt idx="0">
                  <c:v>8.3459</c:v>
                </c:pt>
                <c:pt idx="1">
                  <c:v>5.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G$2:$G$8</c:f>
              <c:numCache>
                <c:formatCode>General</c:formatCode>
                <c:ptCount val="7"/>
                <c:pt idx="0">
                  <c:v>14.5899</c:v>
                </c:pt>
                <c:pt idx="3">
                  <c:v>34.274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7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H$2:$H$8</c:f>
              <c:numCache>
                <c:formatCode>General</c:formatCode>
                <c:ptCount val="7"/>
                <c:pt idx="0">
                  <c:v>4.0</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I$2:$I$8</c:f>
              <c:numCache>
                <c:formatCode>General</c:formatCode>
                <c:ptCount val="7"/>
                <c:pt idx="0">
                  <c:v>5.3163</c:v>
                </c:pt>
                <c:pt idx="1">
                  <c:v>15.2946</c:v>
                </c:pt>
                <c:pt idx="3">
                  <c:v>26.9981</c:v>
                </c:pt>
                <c:pt idx="4">
                  <c:v>16.9503</c:v>
                </c:pt>
                <c:pt idx="5">
                  <c:v>16.913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C$2:$C$8</c:f>
              <c:numCache>
                <c:formatCode>General</c:formatCode>
                <c:ptCount val="7"/>
                <c:pt idx="0">
                  <c:v>27.0196</c:v>
                </c:pt>
                <c:pt idx="1">
                  <c:v>10.6879</c:v>
                </c:pt>
                <c:pt idx="2">
                  <c:v>12.5455</c:v>
                </c:pt>
                <c:pt idx="5">
                  <c:v>3.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D$2:$D$8</c:f>
              <c:numCache>
                <c:formatCode>General</c:formatCode>
                <c:ptCount val="7"/>
                <c:pt idx="2">
                  <c:v>8.4028</c:v>
                </c:pt>
                <c:pt idx="3">
                  <c:v>25.8589</c:v>
                </c:pt>
                <c:pt idx="4">
                  <c:v>2.1772</c:v>
                </c:pt>
                <c:pt idx="5">
                  <c:v>19.478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E$2:$E$8</c:f>
              <c:numCache>
                <c:formatCode>General</c:formatCode>
                <c:ptCount val="7"/>
                <c:pt idx="0">
                  <c:v>35.7868</c:v>
                </c:pt>
                <c:pt idx="5">
                  <c:v>18.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F$2:$F$8</c:f>
              <c:numCache>
                <c:formatCode>General</c:formatCode>
                <c:ptCount val="7"/>
                <c:pt idx="3">
                  <c:v>27.585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7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G$2:$G$8</c:f>
              <c:numCache>
                <c:formatCode>General</c:formatCode>
                <c:ptCount val="7"/>
                <c:pt idx="3">
                  <c:v>36.9472</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H$2:$H$8</c:f>
              <c:numCache>
                <c:formatCode>General</c:formatCode>
                <c:ptCount val="7"/>
                <c:pt idx="1">
                  <c:v>14.8953</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I$2:$I$8</c:f>
              <c:numCache>
                <c:formatCode>General</c:formatCode>
                <c:ptCount val="7"/>
                <c:pt idx="2">
                  <c:v>2.5752</c:v>
                </c:pt>
                <c:pt idx="3">
                  <c:v>5.4337</c:v>
                </c:pt>
                <c:pt idx="5">
                  <c:v>4.0</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J$2:$J$8</c:f>
              <c:numCache>
                <c:formatCode>General</c:formatCode>
                <c:ptCount val="7"/>
                <c:pt idx="2">
                  <c:v>18.1866</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1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K$2:$K$8</c:f>
              <c:numCache>
                <c:formatCode>General</c:formatCode>
                <c:ptCount val="7"/>
                <c:pt idx="1">
                  <c:v>20.530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L$2:$L$8</c:f>
              <c:numCache>
                <c:formatCode>General</c:formatCode>
                <c:ptCount val="7"/>
                <c:pt idx="2">
                  <c:v>21.717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M$2:$M$8</c:f>
              <c:numCache>
                <c:formatCode>General</c:formatCode>
                <c:ptCount val="7"/>
                <c:pt idx="1">
                  <c:v>10.1918</c:v>
                </c:pt>
                <c:pt idx="2">
                  <c:v>2.9434</c:v>
                </c:pt>
                <c:pt idx="3">
                  <c:v>8.7883</c:v>
                </c:pt>
                <c:pt idx="4">
                  <c:v>2.1102</c:v>
                </c:pt>
                <c:pt idx="5">
                  <c:v>8.4393</c:v>
                </c:pt>
                <c:pt idx="6">
                  <c:v>14.3525</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N$2:$N$8</c:f>
              <c:numCache>
                <c:formatCode>General</c:formatCode>
                <c:ptCount val="7"/>
                <c:pt idx="1">
                  <c:v>7.1175</c:v>
                </c:pt>
                <c:pt idx="2">
                  <c:v>9.1257</c:v>
                </c:pt>
                <c:pt idx="3">
                  <c:v>10.1699</c:v>
                </c:pt>
                <c:pt idx="4">
                  <c:v>5.0496</c:v>
                </c:pt>
                <c:pt idx="6">
                  <c:v>9.6875</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4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O$2:$O$8</c:f>
              <c:numCache>
                <c:formatCode>General</c:formatCode>
                <c:ptCount val="7"/>
                <c:pt idx="2">
                  <c:v>7.0706</c:v>
                </c:pt>
                <c:pt idx="3">
                  <c:v>11.443</c:v>
                </c:pt>
                <c:pt idx="4">
                  <c:v>3.97</c:v>
                </c:pt>
                <c:pt idx="5">
                  <c:v>8.9443</c:v>
                </c:pt>
                <c:pt idx="6">
                  <c:v>12.7214</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52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P$2:$P$8</c:f>
              <c:numCache>
                <c:formatCode>General</c:formatCode>
                <c:ptCount val="7"/>
                <c:pt idx="1">
                  <c:v>31.2642</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Q$2:$Q$8</c:f>
              <c:numCache>
                <c:formatCode>General</c:formatCode>
                <c:ptCount val="7"/>
                <c:pt idx="0">
                  <c:v>23.4824</c:v>
                </c:pt>
                <c:pt idx="3">
                  <c:v>12.5425</c:v>
                </c:pt>
                <c:pt idx="4">
                  <c:v>1.0016</c:v>
                </c:pt>
                <c:pt idx="5">
                  <c:v>5.4</c:v>
                </c:pt>
                <c:pt idx="6">
                  <c:v>9.5861</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R$2:$R$8</c:f>
              <c:numCache>
                <c:formatCode>General</c:formatCode>
                <c:ptCount val="7"/>
                <c:pt idx="0">
                  <c:v>22.3148</c:v>
                </c:pt>
                <c:pt idx="2">
                  <c:v>6.4316</c:v>
                </c:pt>
                <c:pt idx="3">
                  <c:v>15.194</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S$2:$S$8</c:f>
              <c:numCache>
                <c:formatCode>General</c:formatCode>
                <c:ptCount val="7"/>
                <c:pt idx="3">
                  <c:v>5.4197</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T$2:$T$8</c:f>
              <c:numCache>
                <c:formatCode>General</c:formatCode>
                <c:ptCount val="7"/>
                <c:pt idx="2">
                  <c:v>11.3234</c:v>
                </c:pt>
                <c:pt idx="3">
                  <c:v>13.0096</c:v>
                </c:pt>
                <c:pt idx="4">
                  <c:v>5.9797</c:v>
                </c:pt>
                <c:pt idx="5">
                  <c:v>15.2905</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U$2:$U$8</c:f>
              <c:numCache>
                <c:formatCode>General</c:formatCode>
                <c:ptCount val="7"/>
                <c:pt idx="0">
                  <c:v>31.7474</c:v>
                </c:pt>
                <c:pt idx="2">
                  <c:v>21.2495</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C$2:$C$8</c:f>
              <c:numCache>
                <c:formatCode>General</c:formatCode>
                <c:ptCount val="7"/>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D$2:$D$8</c:f>
              <c:numCache>
                <c:formatCode>General</c:formatCode>
                <c:ptCount val="7"/>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E$2:$E$8</c:f>
              <c:numCache>
                <c:formatCode>General</c:formatCode>
                <c:ptCount val="7"/>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F$2:$F$8</c:f>
              <c:numCache>
                <c:formatCode>General</c:formatCode>
                <c:ptCount val="7"/>
                <c:pt idx="0">
                  <c:v>39.503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G$2:$G$8</c:f>
              <c:numCache>
                <c:formatCode>General</c:formatCode>
                <c:ptCount val="7"/>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H$2:$H$8</c:f>
              <c:numCache>
                <c:formatCode>General</c:formatCode>
                <c:ptCount val="7"/>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I$2:$I$8</c:f>
              <c:numCache>
                <c:formatCode>General</c:formatCode>
                <c:ptCount val="7"/>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J$2:$J$8</c:f>
              <c:numCache>
                <c:formatCode>General</c:formatCode>
                <c:ptCount val="7"/>
                <c:pt idx="2">
                  <c:v>18.1376</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4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K$2:$K$8</c:f>
              <c:numCache>
                <c:formatCode>General</c:formatCode>
                <c:ptCount val="7"/>
                <c:pt idx="1">
                  <c:v>22.1711</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L$2:$L$8</c:f>
              <c:numCache>
                <c:formatCode>General</c:formatCode>
                <c:ptCount val="7"/>
                <c:pt idx="2">
                  <c:v>21.7527</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M$2:$M$8</c:f>
              <c:numCache>
                <c:formatCode>General</c:formatCode>
                <c:ptCount val="7"/>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N$2:$N$8</c:f>
              <c:numCache>
                <c:formatCode>General</c:formatCode>
                <c:ptCount val="7"/>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4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O$2:$O$8</c:f>
              <c:numCache>
                <c:formatCode>General</c:formatCode>
                <c:ptCount val="7"/>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52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P$2:$P$8</c:f>
              <c:numCache>
                <c:formatCode>General</c:formatCode>
                <c:ptCount val="7"/>
                <c:pt idx="1">
                  <c:v>31.7252</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Q$2:$Q$8</c:f>
              <c:numCache>
                <c:formatCode>General</c:formatCode>
                <c:ptCount val="7"/>
                <c:pt idx="4">
                  <c:v>9.6452</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R$2:$R$8</c:f>
              <c:numCache>
                <c:formatCode>General</c:formatCode>
                <c:ptCount val="7"/>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S$2:$S$8</c:f>
              <c:numCache>
                <c:formatCode>General</c:formatCode>
                <c:ptCount val="7"/>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T$2:$T$8</c:f>
              <c:numCache>
                <c:formatCode>General</c:formatCode>
                <c:ptCount val="7"/>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U$2:$U$8</c:f>
              <c:numCache>
                <c:formatCode>General</c:formatCode>
                <c:ptCount val="7"/>
                <c:pt idx="0">
                  <c:v>28.6354</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6/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6/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6/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6/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6/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630643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8211773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9186055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7121076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Bj's And Sam's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237698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6279527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1678001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2560140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611291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SILVER WHITE 4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411228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414696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668855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433727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5 BLACK GRAY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398933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672036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697305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67195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HERITAGE BLACK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411917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218272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92907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250238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335293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552658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541492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788121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912053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368808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071354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011318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118763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534136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318348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291371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5 BLACK GRAY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595283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239984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794469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530596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158544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950499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301945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899760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436271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148351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281235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308930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erio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erio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RBASOL ULTRA 6 PLUS GRAY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RBASOL ULTRA 6 PLUS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026687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RED BLUE WHITE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841292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328613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BLUE GREEN 3 BLADE DISPOSABLE SENSITIVE 2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261141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613802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erio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RBASOL ULTRA 6 PLUS GRAY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835380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0347251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RED BLUE WHITE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847841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erio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RBASOL ULTRA 6 PLUS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60065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0654191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165199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615524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1621984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426886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967903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726489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020531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9668153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9960773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648926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429884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3409408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8882918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99851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il Necessiti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IL NECESSITIES HOLIDAY GIFT PACK REM BLADES DISPOSABL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9571384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il Necessiti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IL NECESSITIES HOLIDAY GIFT PACK REM BLADES DISPOSABL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0727489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BLUE GREEN 3 BLADE DISPOSABLE SENSITIVE 2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04723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237513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HERITAGE BLACK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8781604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2955519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7576216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1688083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6945266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475985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1530737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9221890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3755554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4886849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917728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5443783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437705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0662401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539607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4793214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3626805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9042407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7690137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809617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0332364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986407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4091689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5736240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7785809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7516505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2512530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8305502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026085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4828472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103157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6629925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768605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0726F4B-CCCE-4FD7-AEEC-E1B68F2D26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2</TotalTime>
  <Words>11491</Words>
  <Application>Microsoft Office PowerPoint</Application>
  <PresentationFormat>On-screen Show (16:9)</PresentationFormat>
  <Paragraphs>5158</Paragraphs>
  <Slides>10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6</vt:i4>
      </vt:variant>
    </vt:vector>
  </HeadingPairs>
  <TitlesOfParts>
    <vt:vector size="115"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6T12:0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